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68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9EDA4D8-201F-4F62-B1D9-DAB28EE24C4C}">
          <p14:sldIdLst>
            <p14:sldId id="68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>
    <p:extLst>
      <p:ext uri="{19B8F6BF-5375-455C-9EA6-DF929625EA0E}">
        <p15:presenceInfo xmlns:p15="http://schemas.microsoft.com/office/powerpoint/2012/main" userId="Administrator" providerId="None"/>
      </p:ext>
    </p:extLst>
  </p:cmAuthor>
  <p:cmAuthor id="2" name="Dsouza, Adriealle (US - Hyderabad)" initials="DA(-H" lastIdx="6" clrIdx="1">
    <p:extLst>
      <p:ext uri="{19B8F6BF-5375-455C-9EA6-DF929625EA0E}">
        <p15:presenceInfo xmlns:p15="http://schemas.microsoft.com/office/powerpoint/2012/main" userId="S-1-5-21-238447276-1040861923-1850952788-24675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6A38"/>
    <a:srgbClr val="A68064"/>
    <a:srgbClr val="08A5B8"/>
    <a:srgbClr val="0782B6"/>
    <a:srgbClr val="0B2C77"/>
    <a:srgbClr val="07A4B7"/>
    <a:srgbClr val="086195"/>
    <a:srgbClr val="012169"/>
    <a:srgbClr val="75787B"/>
    <a:srgbClr val="0097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75" autoAdjust="0"/>
    <p:restoredTop sz="93883" autoAdjust="0"/>
  </p:normalViewPr>
  <p:slideViewPr>
    <p:cSldViewPr snapToGrid="0">
      <p:cViewPr>
        <p:scale>
          <a:sx n="66" d="100"/>
          <a:sy n="66" d="100"/>
        </p:scale>
        <p:origin x="56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00" d="100"/>
          <a:sy n="100" d="100"/>
        </p:scale>
        <p:origin x="1628" y="-210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E28BB3-2CBD-44AE-B75B-27A30C3B7EEF}" type="datetimeFigureOut">
              <a:rPr lang="en-US" smtClean="0"/>
              <a:t>4/18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70B117-5B47-4DFD-BAE2-73206EBDAAA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627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ta</a:t>
            </a:r>
          </a:p>
          <a:p>
            <a:r>
              <a:rPr lang="en-US" dirty="0" err="1"/>
              <a:t>Neueal</a:t>
            </a:r>
            <a:r>
              <a:rPr lang="en-US" dirty="0"/>
              <a:t> net</a:t>
            </a:r>
          </a:p>
          <a:p>
            <a:r>
              <a:rPr lang="en-US" dirty="0"/>
              <a:t>deci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70B117-5B47-4DFD-BAE2-73206EBDAAA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9908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223353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916213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6060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56368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989596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23123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04788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2866723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7006961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69830169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8709156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6924625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9782903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0731013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37332465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24605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1349394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413698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895050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7993854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0850229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6367937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37435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19685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92738471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2298449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97587036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71332353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712685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28993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963139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7617542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0518582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878388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92568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221011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61448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094422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53725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27239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0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© 2019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0985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Title 187">
            <a:extLst>
              <a:ext uri="{FF2B5EF4-FFF2-40B4-BE49-F238E27FC236}">
                <a16:creationId xmlns:a16="http://schemas.microsoft.com/office/drawing/2014/main" id="{6C12EF80-C165-4A96-9AC8-F4D9A3E8AB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172179"/>
            <a:ext cx="11252200" cy="698501"/>
          </a:xfrm>
        </p:spPr>
        <p:txBody>
          <a:bodyPr/>
          <a:lstStyle/>
          <a:p>
            <a:r>
              <a:rPr lang="en-US" b="1" dirty="0"/>
              <a:t>Face Swap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8B87EEA-D08D-4EFE-9410-F2FA35647C73}"/>
              </a:ext>
            </a:extLst>
          </p:cNvPr>
          <p:cNvCxnSpPr>
            <a:cxnSpLocks/>
            <a:stCxn id="188" idx="1"/>
            <a:endCxn id="188" idx="3"/>
          </p:cNvCxnSpPr>
          <p:nvPr/>
        </p:nvCxnSpPr>
        <p:spPr>
          <a:xfrm>
            <a:off x="469900" y="521430"/>
            <a:ext cx="112522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F0CEB6E-C8AB-4936-B858-E4A1CC25AD9A}"/>
              </a:ext>
            </a:extLst>
          </p:cNvPr>
          <p:cNvGrpSpPr/>
          <p:nvPr/>
        </p:nvGrpSpPr>
        <p:grpSpPr>
          <a:xfrm>
            <a:off x="7634928" y="1611458"/>
            <a:ext cx="3447611" cy="3920040"/>
            <a:chOff x="7634928" y="1611458"/>
            <a:chExt cx="3447611" cy="3920040"/>
          </a:xfrm>
        </p:grpSpPr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47AD03D9-1AEC-449A-9125-6B3EE8967BE9}"/>
                </a:ext>
              </a:extLst>
            </p:cNvPr>
            <p:cNvSpPr txBox="1"/>
            <p:nvPr/>
          </p:nvSpPr>
          <p:spPr>
            <a:xfrm>
              <a:off x="7634928" y="5238797"/>
              <a:ext cx="1257802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400" b="1" dirty="0"/>
                <a:t>Fake</a:t>
              </a: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763A16B0-04C5-4D9E-8AEC-2E095C751171}"/>
                </a:ext>
              </a:extLst>
            </p:cNvPr>
            <p:cNvSpPr txBox="1"/>
            <p:nvPr/>
          </p:nvSpPr>
          <p:spPr>
            <a:xfrm>
              <a:off x="9824737" y="3662503"/>
              <a:ext cx="1257802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400" b="1" dirty="0"/>
                <a:t>Real</a:t>
              </a:r>
            </a:p>
          </p:txBody>
        </p:sp>
        <p:sp>
          <p:nvSpPr>
            <p:cNvPr id="118" name="Freeform 747">
              <a:extLst>
                <a:ext uri="{FF2B5EF4-FFF2-40B4-BE49-F238E27FC236}">
                  <a16:creationId xmlns:a16="http://schemas.microsoft.com/office/drawing/2014/main" id="{4AD7F9D3-DF80-4542-ACA3-C2901BF7409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615692" y="3046016"/>
              <a:ext cx="744477" cy="744477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5" name="Freeform 7">
              <a:extLst>
                <a:ext uri="{FF2B5EF4-FFF2-40B4-BE49-F238E27FC236}">
                  <a16:creationId xmlns:a16="http://schemas.microsoft.com/office/drawing/2014/main" id="{4B7C70FA-305E-4CA1-90FF-47065EC6DA71}"/>
                </a:ext>
              </a:extLst>
            </p:cNvPr>
            <p:cNvSpPr>
              <a:spLocks/>
            </p:cNvSpPr>
            <p:nvPr/>
          </p:nvSpPr>
          <p:spPr bwMode="gray">
            <a:xfrm rot="10800000" flipV="1">
              <a:off x="8025447" y="4170940"/>
              <a:ext cx="1893325" cy="732864"/>
            </a:xfrm>
            <a:custGeom>
              <a:avLst/>
              <a:gdLst>
                <a:gd name="T0" fmla="*/ 0 w 1398"/>
                <a:gd name="T1" fmla="*/ 981075 h 618"/>
                <a:gd name="T2" fmla="*/ 555625 w 1398"/>
                <a:gd name="T3" fmla="*/ 0 h 618"/>
                <a:gd name="T4" fmla="*/ 1662113 w 1398"/>
                <a:gd name="T5" fmla="*/ 0 h 618"/>
                <a:gd name="T6" fmla="*/ 2219325 w 1398"/>
                <a:gd name="T7" fmla="*/ 981075 h 618"/>
                <a:gd name="T8" fmla="*/ 0 w 1398"/>
                <a:gd name="T9" fmla="*/ 981075 h 6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98"/>
                <a:gd name="T16" fmla="*/ 0 h 618"/>
                <a:gd name="T17" fmla="*/ 1398 w 1398"/>
                <a:gd name="T18" fmla="*/ 618 h 6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98" h="618">
                  <a:moveTo>
                    <a:pt x="0" y="618"/>
                  </a:moveTo>
                  <a:lnTo>
                    <a:pt x="350" y="0"/>
                  </a:lnTo>
                  <a:lnTo>
                    <a:pt x="1047" y="0"/>
                  </a:lnTo>
                  <a:lnTo>
                    <a:pt x="1398" y="618"/>
                  </a:lnTo>
                  <a:lnTo>
                    <a:pt x="0" y="618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 eaLnBrk="0" hangingPunct="0"/>
              <a:endParaRPr lang="en-US" sz="1200" dirty="0"/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0D6B46AB-37E2-4CA1-936E-03232A73C93D}"/>
                </a:ext>
              </a:extLst>
            </p:cNvPr>
            <p:cNvSpPr txBox="1"/>
            <p:nvPr/>
          </p:nvSpPr>
          <p:spPr>
            <a:xfrm>
              <a:off x="8278588" y="4404560"/>
              <a:ext cx="1387044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400" b="1" dirty="0"/>
                <a:t>Discriminator</a:t>
              </a:r>
            </a:p>
          </p:txBody>
        </p:sp>
        <p:sp>
          <p:nvSpPr>
            <p:cNvPr id="132" name="Freeform 976">
              <a:extLst>
                <a:ext uri="{FF2B5EF4-FFF2-40B4-BE49-F238E27FC236}">
                  <a16:creationId xmlns:a16="http://schemas.microsoft.com/office/drawing/2014/main" id="{786412E5-83BF-4B88-8DCC-713C024D41F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000776" y="4601442"/>
              <a:ext cx="367632" cy="367631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373 h 512"/>
                <a:gd name="T12" fmla="*/ 128 w 512"/>
                <a:gd name="T13" fmla="*/ 373 h 512"/>
                <a:gd name="T14" fmla="*/ 117 w 512"/>
                <a:gd name="T15" fmla="*/ 362 h 512"/>
                <a:gd name="T16" fmla="*/ 128 w 512"/>
                <a:gd name="T17" fmla="*/ 352 h 512"/>
                <a:gd name="T18" fmla="*/ 256 w 512"/>
                <a:gd name="T19" fmla="*/ 352 h 512"/>
                <a:gd name="T20" fmla="*/ 266 w 512"/>
                <a:gd name="T21" fmla="*/ 362 h 512"/>
                <a:gd name="T22" fmla="*/ 256 w 512"/>
                <a:gd name="T23" fmla="*/ 373 h 512"/>
                <a:gd name="T24" fmla="*/ 391 w 512"/>
                <a:gd name="T25" fmla="*/ 370 h 512"/>
                <a:gd name="T26" fmla="*/ 384 w 512"/>
                <a:gd name="T27" fmla="*/ 373 h 512"/>
                <a:gd name="T28" fmla="*/ 376 w 512"/>
                <a:gd name="T29" fmla="*/ 370 h 512"/>
                <a:gd name="T30" fmla="*/ 279 w 512"/>
                <a:gd name="T31" fmla="*/ 272 h 512"/>
                <a:gd name="T32" fmla="*/ 242 w 512"/>
                <a:gd name="T33" fmla="*/ 310 h 512"/>
                <a:gd name="T34" fmla="*/ 242 w 512"/>
                <a:gd name="T35" fmla="*/ 310 h 512"/>
                <a:gd name="T36" fmla="*/ 242 w 512"/>
                <a:gd name="T37" fmla="*/ 325 h 512"/>
                <a:gd name="T38" fmla="*/ 234 w 512"/>
                <a:gd name="T39" fmla="*/ 328 h 512"/>
                <a:gd name="T40" fmla="*/ 227 w 512"/>
                <a:gd name="T41" fmla="*/ 325 h 512"/>
                <a:gd name="T42" fmla="*/ 151 w 512"/>
                <a:gd name="T43" fmla="*/ 250 h 512"/>
                <a:gd name="T44" fmla="*/ 151 w 512"/>
                <a:gd name="T45" fmla="*/ 235 h 512"/>
                <a:gd name="T46" fmla="*/ 166 w 512"/>
                <a:gd name="T47" fmla="*/ 235 h 512"/>
                <a:gd name="T48" fmla="*/ 257 w 512"/>
                <a:gd name="T49" fmla="*/ 144 h 512"/>
                <a:gd name="T50" fmla="*/ 257 w 512"/>
                <a:gd name="T51" fmla="*/ 129 h 512"/>
                <a:gd name="T52" fmla="*/ 272 w 512"/>
                <a:gd name="T53" fmla="*/ 129 h 512"/>
                <a:gd name="T54" fmla="*/ 347 w 512"/>
                <a:gd name="T55" fmla="*/ 204 h 512"/>
                <a:gd name="T56" fmla="*/ 347 w 512"/>
                <a:gd name="T57" fmla="*/ 220 h 512"/>
                <a:gd name="T58" fmla="*/ 340 w 512"/>
                <a:gd name="T59" fmla="*/ 223 h 512"/>
                <a:gd name="T60" fmla="*/ 332 w 512"/>
                <a:gd name="T61" fmla="*/ 220 h 512"/>
                <a:gd name="T62" fmla="*/ 295 w 512"/>
                <a:gd name="T63" fmla="*/ 257 h 512"/>
                <a:gd name="T64" fmla="*/ 295 w 512"/>
                <a:gd name="T65" fmla="*/ 257 h 512"/>
                <a:gd name="T66" fmla="*/ 391 w 512"/>
                <a:gd name="T67" fmla="*/ 355 h 512"/>
                <a:gd name="T68" fmla="*/ 391 w 512"/>
                <a:gd name="T69" fmla="*/ 370 h 512"/>
                <a:gd name="T70" fmla="*/ 317 w 512"/>
                <a:gd name="T71" fmla="*/ 204 h 512"/>
                <a:gd name="T72" fmla="*/ 227 w 512"/>
                <a:gd name="T73" fmla="*/ 295 h 512"/>
                <a:gd name="T74" fmla="*/ 181 w 512"/>
                <a:gd name="T75" fmla="*/ 250 h 512"/>
                <a:gd name="T76" fmla="*/ 272 w 512"/>
                <a:gd name="T77" fmla="*/ 159 h 512"/>
                <a:gd name="T78" fmla="*/ 317 w 512"/>
                <a:gd name="T79" fmla="*/ 20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373"/>
                  </a:moveTo>
                  <a:cubicBezTo>
                    <a:pt x="128" y="373"/>
                    <a:pt x="128" y="373"/>
                    <a:pt x="128" y="373"/>
                  </a:cubicBezTo>
                  <a:cubicBezTo>
                    <a:pt x="122" y="373"/>
                    <a:pt x="117" y="368"/>
                    <a:pt x="117" y="362"/>
                  </a:cubicBezTo>
                  <a:cubicBezTo>
                    <a:pt x="117" y="356"/>
                    <a:pt x="122" y="352"/>
                    <a:pt x="128" y="352"/>
                  </a:cubicBezTo>
                  <a:cubicBezTo>
                    <a:pt x="256" y="352"/>
                    <a:pt x="256" y="352"/>
                    <a:pt x="256" y="352"/>
                  </a:cubicBezTo>
                  <a:cubicBezTo>
                    <a:pt x="262" y="352"/>
                    <a:pt x="266" y="356"/>
                    <a:pt x="266" y="362"/>
                  </a:cubicBezTo>
                  <a:cubicBezTo>
                    <a:pt x="266" y="368"/>
                    <a:pt x="262" y="373"/>
                    <a:pt x="256" y="373"/>
                  </a:cubicBezTo>
                  <a:close/>
                  <a:moveTo>
                    <a:pt x="391" y="370"/>
                  </a:moveTo>
                  <a:cubicBezTo>
                    <a:pt x="389" y="372"/>
                    <a:pt x="386" y="373"/>
                    <a:pt x="384" y="373"/>
                  </a:cubicBezTo>
                  <a:cubicBezTo>
                    <a:pt x="381" y="373"/>
                    <a:pt x="378" y="372"/>
                    <a:pt x="376" y="370"/>
                  </a:cubicBezTo>
                  <a:cubicBezTo>
                    <a:pt x="279" y="272"/>
                    <a:pt x="279" y="272"/>
                    <a:pt x="279" y="272"/>
                  </a:cubicBezTo>
                  <a:cubicBezTo>
                    <a:pt x="242" y="310"/>
                    <a:pt x="242" y="310"/>
                    <a:pt x="242" y="310"/>
                  </a:cubicBezTo>
                  <a:cubicBezTo>
                    <a:pt x="242" y="310"/>
                    <a:pt x="242" y="310"/>
                    <a:pt x="242" y="310"/>
                  </a:cubicBezTo>
                  <a:cubicBezTo>
                    <a:pt x="246" y="314"/>
                    <a:pt x="246" y="321"/>
                    <a:pt x="242" y="325"/>
                  </a:cubicBezTo>
                  <a:cubicBezTo>
                    <a:pt x="240" y="327"/>
                    <a:pt x="237" y="328"/>
                    <a:pt x="234" y="328"/>
                  </a:cubicBezTo>
                  <a:cubicBezTo>
                    <a:pt x="231" y="328"/>
                    <a:pt x="229" y="327"/>
                    <a:pt x="227" y="325"/>
                  </a:cubicBezTo>
                  <a:cubicBezTo>
                    <a:pt x="151" y="250"/>
                    <a:pt x="151" y="250"/>
                    <a:pt x="151" y="250"/>
                  </a:cubicBezTo>
                  <a:cubicBezTo>
                    <a:pt x="147" y="246"/>
                    <a:pt x="147" y="239"/>
                    <a:pt x="151" y="235"/>
                  </a:cubicBezTo>
                  <a:cubicBezTo>
                    <a:pt x="155" y="230"/>
                    <a:pt x="162" y="230"/>
                    <a:pt x="166" y="235"/>
                  </a:cubicBezTo>
                  <a:cubicBezTo>
                    <a:pt x="257" y="144"/>
                    <a:pt x="257" y="144"/>
                    <a:pt x="257" y="144"/>
                  </a:cubicBezTo>
                  <a:cubicBezTo>
                    <a:pt x="253" y="140"/>
                    <a:pt x="253" y="133"/>
                    <a:pt x="257" y="129"/>
                  </a:cubicBezTo>
                  <a:cubicBezTo>
                    <a:pt x="261" y="125"/>
                    <a:pt x="268" y="125"/>
                    <a:pt x="272" y="129"/>
                  </a:cubicBezTo>
                  <a:cubicBezTo>
                    <a:pt x="347" y="204"/>
                    <a:pt x="347" y="204"/>
                    <a:pt x="347" y="204"/>
                  </a:cubicBezTo>
                  <a:cubicBezTo>
                    <a:pt x="352" y="209"/>
                    <a:pt x="352" y="215"/>
                    <a:pt x="347" y="220"/>
                  </a:cubicBezTo>
                  <a:cubicBezTo>
                    <a:pt x="345" y="222"/>
                    <a:pt x="343" y="223"/>
                    <a:pt x="340" y="223"/>
                  </a:cubicBezTo>
                  <a:cubicBezTo>
                    <a:pt x="337" y="223"/>
                    <a:pt x="334" y="222"/>
                    <a:pt x="332" y="220"/>
                  </a:cubicBezTo>
                  <a:cubicBezTo>
                    <a:pt x="295" y="257"/>
                    <a:pt x="295" y="257"/>
                    <a:pt x="295" y="257"/>
                  </a:cubicBezTo>
                  <a:cubicBezTo>
                    <a:pt x="295" y="257"/>
                    <a:pt x="295" y="257"/>
                    <a:pt x="295" y="257"/>
                  </a:cubicBezTo>
                  <a:cubicBezTo>
                    <a:pt x="391" y="355"/>
                    <a:pt x="391" y="355"/>
                    <a:pt x="391" y="355"/>
                  </a:cubicBezTo>
                  <a:cubicBezTo>
                    <a:pt x="395" y="359"/>
                    <a:pt x="395" y="366"/>
                    <a:pt x="391" y="370"/>
                  </a:cubicBezTo>
                  <a:close/>
                  <a:moveTo>
                    <a:pt x="317" y="204"/>
                  </a:moveTo>
                  <a:cubicBezTo>
                    <a:pt x="227" y="295"/>
                    <a:pt x="227" y="295"/>
                    <a:pt x="227" y="295"/>
                  </a:cubicBezTo>
                  <a:cubicBezTo>
                    <a:pt x="181" y="250"/>
                    <a:pt x="181" y="250"/>
                    <a:pt x="181" y="250"/>
                  </a:cubicBezTo>
                  <a:cubicBezTo>
                    <a:pt x="272" y="159"/>
                    <a:pt x="272" y="159"/>
                    <a:pt x="272" y="159"/>
                  </a:cubicBezTo>
                  <a:lnTo>
                    <a:pt x="317" y="204"/>
                  </a:ln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3" name="Freeform 132">
              <a:extLst>
                <a:ext uri="{FF2B5EF4-FFF2-40B4-BE49-F238E27FC236}">
                  <a16:creationId xmlns:a16="http://schemas.microsoft.com/office/drawing/2014/main" id="{2721FBFA-86CF-4724-A5F3-FB680A43A5E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583055" y="5161822"/>
              <a:ext cx="369676" cy="369676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81 w 512"/>
                <a:gd name="T11" fmla="*/ 365 h 512"/>
                <a:gd name="T12" fmla="*/ 381 w 512"/>
                <a:gd name="T13" fmla="*/ 381 h 512"/>
                <a:gd name="T14" fmla="*/ 373 w 512"/>
                <a:gd name="T15" fmla="*/ 384 h 512"/>
                <a:gd name="T16" fmla="*/ 365 w 512"/>
                <a:gd name="T17" fmla="*/ 381 h 512"/>
                <a:gd name="T18" fmla="*/ 256 w 512"/>
                <a:gd name="T19" fmla="*/ 271 h 512"/>
                <a:gd name="T20" fmla="*/ 146 w 512"/>
                <a:gd name="T21" fmla="*/ 381 h 512"/>
                <a:gd name="T22" fmla="*/ 138 w 512"/>
                <a:gd name="T23" fmla="*/ 384 h 512"/>
                <a:gd name="T24" fmla="*/ 131 w 512"/>
                <a:gd name="T25" fmla="*/ 381 h 512"/>
                <a:gd name="T26" fmla="*/ 131 w 512"/>
                <a:gd name="T27" fmla="*/ 365 h 512"/>
                <a:gd name="T28" fmla="*/ 241 w 512"/>
                <a:gd name="T29" fmla="*/ 256 h 512"/>
                <a:gd name="T30" fmla="*/ 131 w 512"/>
                <a:gd name="T31" fmla="*/ 146 h 512"/>
                <a:gd name="T32" fmla="*/ 131 w 512"/>
                <a:gd name="T33" fmla="*/ 131 h 512"/>
                <a:gd name="T34" fmla="*/ 146 w 512"/>
                <a:gd name="T35" fmla="*/ 131 h 512"/>
                <a:gd name="T36" fmla="*/ 256 w 512"/>
                <a:gd name="T37" fmla="*/ 241 h 512"/>
                <a:gd name="T38" fmla="*/ 365 w 512"/>
                <a:gd name="T39" fmla="*/ 131 h 512"/>
                <a:gd name="T40" fmla="*/ 381 w 512"/>
                <a:gd name="T41" fmla="*/ 131 h 512"/>
                <a:gd name="T42" fmla="*/ 381 w 512"/>
                <a:gd name="T43" fmla="*/ 146 h 512"/>
                <a:gd name="T44" fmla="*/ 271 w 512"/>
                <a:gd name="T45" fmla="*/ 256 h 512"/>
                <a:gd name="T46" fmla="*/ 381 w 512"/>
                <a:gd name="T47" fmla="*/ 365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81" y="365"/>
                  </a:moveTo>
                  <a:cubicBezTo>
                    <a:pt x="385" y="370"/>
                    <a:pt x="385" y="376"/>
                    <a:pt x="381" y="381"/>
                  </a:cubicBezTo>
                  <a:cubicBezTo>
                    <a:pt x="378" y="383"/>
                    <a:pt x="376" y="384"/>
                    <a:pt x="373" y="384"/>
                  </a:cubicBezTo>
                  <a:cubicBezTo>
                    <a:pt x="370" y="384"/>
                    <a:pt x="368" y="383"/>
                    <a:pt x="365" y="381"/>
                  </a:cubicBezTo>
                  <a:cubicBezTo>
                    <a:pt x="256" y="271"/>
                    <a:pt x="256" y="271"/>
                    <a:pt x="256" y="271"/>
                  </a:cubicBezTo>
                  <a:cubicBezTo>
                    <a:pt x="146" y="381"/>
                    <a:pt x="146" y="381"/>
                    <a:pt x="146" y="381"/>
                  </a:cubicBezTo>
                  <a:cubicBezTo>
                    <a:pt x="144" y="383"/>
                    <a:pt x="141" y="384"/>
                    <a:pt x="138" y="384"/>
                  </a:cubicBezTo>
                  <a:cubicBezTo>
                    <a:pt x="136" y="384"/>
                    <a:pt x="133" y="383"/>
                    <a:pt x="131" y="381"/>
                  </a:cubicBezTo>
                  <a:cubicBezTo>
                    <a:pt x="127" y="376"/>
                    <a:pt x="127" y="370"/>
                    <a:pt x="131" y="365"/>
                  </a:cubicBezTo>
                  <a:cubicBezTo>
                    <a:pt x="241" y="256"/>
                    <a:pt x="241" y="256"/>
                    <a:pt x="241" y="256"/>
                  </a:cubicBezTo>
                  <a:cubicBezTo>
                    <a:pt x="131" y="146"/>
                    <a:pt x="131" y="146"/>
                    <a:pt x="131" y="146"/>
                  </a:cubicBezTo>
                  <a:cubicBezTo>
                    <a:pt x="127" y="142"/>
                    <a:pt x="127" y="135"/>
                    <a:pt x="131" y="131"/>
                  </a:cubicBezTo>
                  <a:cubicBezTo>
                    <a:pt x="135" y="127"/>
                    <a:pt x="142" y="127"/>
                    <a:pt x="146" y="131"/>
                  </a:cubicBezTo>
                  <a:cubicBezTo>
                    <a:pt x="256" y="241"/>
                    <a:pt x="256" y="241"/>
                    <a:pt x="256" y="241"/>
                  </a:cubicBezTo>
                  <a:cubicBezTo>
                    <a:pt x="365" y="131"/>
                    <a:pt x="365" y="131"/>
                    <a:pt x="365" y="131"/>
                  </a:cubicBezTo>
                  <a:cubicBezTo>
                    <a:pt x="370" y="127"/>
                    <a:pt x="376" y="127"/>
                    <a:pt x="381" y="131"/>
                  </a:cubicBezTo>
                  <a:cubicBezTo>
                    <a:pt x="385" y="135"/>
                    <a:pt x="385" y="142"/>
                    <a:pt x="381" y="146"/>
                  </a:cubicBezTo>
                  <a:cubicBezTo>
                    <a:pt x="271" y="256"/>
                    <a:pt x="271" y="256"/>
                    <a:pt x="271" y="256"/>
                  </a:cubicBezTo>
                  <a:lnTo>
                    <a:pt x="381" y="365"/>
                  </a:lnTo>
                  <a:close/>
                </a:path>
              </a:pathLst>
            </a:custGeom>
            <a:solidFill>
              <a:srgbClr val="DA291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5" name="Freeform 598">
              <a:extLst>
                <a:ext uri="{FF2B5EF4-FFF2-40B4-BE49-F238E27FC236}">
                  <a16:creationId xmlns:a16="http://schemas.microsoft.com/office/drawing/2014/main" id="{77857A22-505E-4B4B-8370-0A631DCB078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52731" y="5161822"/>
              <a:ext cx="369676" cy="369676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02 w 512"/>
                <a:gd name="T11" fmla="*/ 167 h 512"/>
                <a:gd name="T12" fmla="*/ 189 w 512"/>
                <a:gd name="T13" fmla="*/ 381 h 512"/>
                <a:gd name="T14" fmla="*/ 181 w 512"/>
                <a:gd name="T15" fmla="*/ 384 h 512"/>
                <a:gd name="T16" fmla="*/ 173 w 512"/>
                <a:gd name="T17" fmla="*/ 381 h 512"/>
                <a:gd name="T18" fmla="*/ 99 w 512"/>
                <a:gd name="T19" fmla="*/ 306 h 512"/>
                <a:gd name="T20" fmla="*/ 99 w 512"/>
                <a:gd name="T21" fmla="*/ 291 h 512"/>
                <a:gd name="T22" fmla="*/ 114 w 512"/>
                <a:gd name="T23" fmla="*/ 291 h 512"/>
                <a:gd name="T24" fmla="*/ 181 w 512"/>
                <a:gd name="T25" fmla="*/ 358 h 512"/>
                <a:gd name="T26" fmla="*/ 387 w 512"/>
                <a:gd name="T27" fmla="*/ 152 h 512"/>
                <a:gd name="T28" fmla="*/ 402 w 512"/>
                <a:gd name="T29" fmla="*/ 152 h 512"/>
                <a:gd name="T30" fmla="*/ 402 w 512"/>
                <a:gd name="T31" fmla="*/ 16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02" y="167"/>
                  </a:moveTo>
                  <a:cubicBezTo>
                    <a:pt x="189" y="381"/>
                    <a:pt x="189" y="381"/>
                    <a:pt x="189" y="381"/>
                  </a:cubicBezTo>
                  <a:cubicBezTo>
                    <a:pt x="186" y="383"/>
                    <a:pt x="184" y="384"/>
                    <a:pt x="181" y="384"/>
                  </a:cubicBezTo>
                  <a:cubicBezTo>
                    <a:pt x="178" y="384"/>
                    <a:pt x="176" y="383"/>
                    <a:pt x="173" y="381"/>
                  </a:cubicBezTo>
                  <a:cubicBezTo>
                    <a:pt x="99" y="306"/>
                    <a:pt x="99" y="306"/>
                    <a:pt x="99" y="306"/>
                  </a:cubicBezTo>
                  <a:cubicBezTo>
                    <a:pt x="95" y="302"/>
                    <a:pt x="95" y="295"/>
                    <a:pt x="99" y="291"/>
                  </a:cubicBezTo>
                  <a:cubicBezTo>
                    <a:pt x="103" y="287"/>
                    <a:pt x="110" y="287"/>
                    <a:pt x="114" y="291"/>
                  </a:cubicBezTo>
                  <a:cubicBezTo>
                    <a:pt x="181" y="358"/>
                    <a:pt x="181" y="358"/>
                    <a:pt x="181" y="358"/>
                  </a:cubicBezTo>
                  <a:cubicBezTo>
                    <a:pt x="387" y="152"/>
                    <a:pt x="387" y="152"/>
                    <a:pt x="387" y="152"/>
                  </a:cubicBezTo>
                  <a:cubicBezTo>
                    <a:pt x="391" y="148"/>
                    <a:pt x="398" y="148"/>
                    <a:pt x="402" y="152"/>
                  </a:cubicBezTo>
                  <a:cubicBezTo>
                    <a:pt x="406" y="156"/>
                    <a:pt x="406" y="163"/>
                    <a:pt x="402" y="167"/>
                  </a:cubicBezTo>
                  <a:close/>
                </a:path>
              </a:pathLst>
            </a:custGeom>
            <a:solidFill>
              <a:srgbClr val="046A38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E70FA9B4-D9B9-4D4C-B3FD-4A3324E63EB1}"/>
                </a:ext>
              </a:extLst>
            </p:cNvPr>
            <p:cNvSpPr txBox="1"/>
            <p:nvPr/>
          </p:nvSpPr>
          <p:spPr>
            <a:xfrm>
              <a:off x="9824737" y="3661666"/>
              <a:ext cx="1257802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endParaRPr lang="en-US" sz="1400" b="1" dirty="0"/>
            </a:p>
          </p:txBody>
        </p:sp>
        <p:sp>
          <p:nvSpPr>
            <p:cNvPr id="174" name="TextBox 173">
              <a:extLst>
                <a:ext uri="{FF2B5EF4-FFF2-40B4-BE49-F238E27FC236}">
                  <a16:creationId xmlns:a16="http://schemas.microsoft.com/office/drawing/2014/main" id="{08CF4B8D-B7DE-4799-A507-D1C2B3B86E6E}"/>
                </a:ext>
              </a:extLst>
            </p:cNvPr>
            <p:cNvSpPr txBox="1"/>
            <p:nvPr/>
          </p:nvSpPr>
          <p:spPr>
            <a:xfrm>
              <a:off x="8978868" y="5238938"/>
              <a:ext cx="1257802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400" b="1" dirty="0"/>
                <a:t>Real</a:t>
              </a:r>
            </a:p>
          </p:txBody>
        </p:sp>
        <p:sp>
          <p:nvSpPr>
            <p:cNvPr id="183" name="Freeform 142">
              <a:extLst>
                <a:ext uri="{FF2B5EF4-FFF2-40B4-BE49-F238E27FC236}">
                  <a16:creationId xmlns:a16="http://schemas.microsoft.com/office/drawing/2014/main" id="{6DDB80DE-C345-475C-8113-B215CB1813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2268" y="4927121"/>
              <a:ext cx="139682" cy="229554"/>
            </a:xfrm>
            <a:custGeom>
              <a:avLst/>
              <a:gdLst>
                <a:gd name="T0" fmla="*/ 190 w 194"/>
                <a:gd name="T1" fmla="*/ 216 h 320"/>
                <a:gd name="T2" fmla="*/ 174 w 194"/>
                <a:gd name="T3" fmla="*/ 216 h 320"/>
                <a:gd name="T4" fmla="*/ 107 w 194"/>
                <a:gd name="T5" fmla="*/ 283 h 320"/>
                <a:gd name="T6" fmla="*/ 107 w 194"/>
                <a:gd name="T7" fmla="*/ 10 h 320"/>
                <a:gd name="T8" fmla="*/ 97 w 194"/>
                <a:gd name="T9" fmla="*/ 0 h 320"/>
                <a:gd name="T10" fmla="*/ 86 w 194"/>
                <a:gd name="T11" fmla="*/ 10 h 320"/>
                <a:gd name="T12" fmla="*/ 86 w 194"/>
                <a:gd name="T13" fmla="*/ 283 h 320"/>
                <a:gd name="T14" fmla="*/ 19 w 194"/>
                <a:gd name="T15" fmla="*/ 216 h 320"/>
                <a:gd name="T16" fmla="*/ 4 w 194"/>
                <a:gd name="T17" fmla="*/ 216 h 320"/>
                <a:gd name="T18" fmla="*/ 4 w 194"/>
                <a:gd name="T19" fmla="*/ 231 h 320"/>
                <a:gd name="T20" fmla="*/ 89 w 194"/>
                <a:gd name="T21" fmla="*/ 317 h 320"/>
                <a:gd name="T22" fmla="*/ 93 w 194"/>
                <a:gd name="T23" fmla="*/ 319 h 320"/>
                <a:gd name="T24" fmla="*/ 97 w 194"/>
                <a:gd name="T25" fmla="*/ 320 h 320"/>
                <a:gd name="T26" fmla="*/ 101 w 194"/>
                <a:gd name="T27" fmla="*/ 319 h 320"/>
                <a:gd name="T28" fmla="*/ 104 w 194"/>
                <a:gd name="T29" fmla="*/ 317 h 320"/>
                <a:gd name="T30" fmla="*/ 190 w 194"/>
                <a:gd name="T31" fmla="*/ 231 h 320"/>
                <a:gd name="T32" fmla="*/ 190 w 194"/>
                <a:gd name="T33" fmla="*/ 21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4" h="320">
                  <a:moveTo>
                    <a:pt x="190" y="216"/>
                  </a:moveTo>
                  <a:cubicBezTo>
                    <a:pt x="185" y="212"/>
                    <a:pt x="179" y="212"/>
                    <a:pt x="174" y="216"/>
                  </a:cubicBezTo>
                  <a:cubicBezTo>
                    <a:pt x="107" y="283"/>
                    <a:pt x="107" y="283"/>
                    <a:pt x="107" y="283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4"/>
                    <a:pt x="103" y="0"/>
                    <a:pt x="97" y="0"/>
                  </a:cubicBezTo>
                  <a:cubicBezTo>
                    <a:pt x="91" y="0"/>
                    <a:pt x="86" y="4"/>
                    <a:pt x="86" y="10"/>
                  </a:cubicBezTo>
                  <a:cubicBezTo>
                    <a:pt x="86" y="283"/>
                    <a:pt x="86" y="283"/>
                    <a:pt x="86" y="283"/>
                  </a:cubicBezTo>
                  <a:cubicBezTo>
                    <a:pt x="19" y="216"/>
                    <a:pt x="19" y="216"/>
                    <a:pt x="19" y="216"/>
                  </a:cubicBezTo>
                  <a:cubicBezTo>
                    <a:pt x="15" y="212"/>
                    <a:pt x="8" y="212"/>
                    <a:pt x="4" y="216"/>
                  </a:cubicBezTo>
                  <a:cubicBezTo>
                    <a:pt x="0" y="220"/>
                    <a:pt x="0" y="227"/>
                    <a:pt x="4" y="231"/>
                  </a:cubicBezTo>
                  <a:cubicBezTo>
                    <a:pt x="89" y="317"/>
                    <a:pt x="89" y="317"/>
                    <a:pt x="89" y="317"/>
                  </a:cubicBezTo>
                  <a:cubicBezTo>
                    <a:pt x="90" y="318"/>
                    <a:pt x="91" y="318"/>
                    <a:pt x="93" y="319"/>
                  </a:cubicBezTo>
                  <a:cubicBezTo>
                    <a:pt x="94" y="319"/>
                    <a:pt x="95" y="320"/>
                    <a:pt x="97" y="320"/>
                  </a:cubicBezTo>
                  <a:cubicBezTo>
                    <a:pt x="98" y="320"/>
                    <a:pt x="99" y="319"/>
                    <a:pt x="101" y="319"/>
                  </a:cubicBezTo>
                  <a:cubicBezTo>
                    <a:pt x="102" y="318"/>
                    <a:pt x="103" y="318"/>
                    <a:pt x="104" y="317"/>
                  </a:cubicBezTo>
                  <a:cubicBezTo>
                    <a:pt x="190" y="231"/>
                    <a:pt x="190" y="231"/>
                    <a:pt x="190" y="231"/>
                  </a:cubicBezTo>
                  <a:cubicBezTo>
                    <a:pt x="194" y="227"/>
                    <a:pt x="194" y="220"/>
                    <a:pt x="190" y="216"/>
                  </a:cubicBezTo>
                  <a:close/>
                </a:path>
              </a:pathLst>
            </a:custGeom>
            <a:solidFill>
              <a:schemeClr val="accent2"/>
            </a:solidFill>
            <a:ln w="12700">
              <a:solidFill>
                <a:srgbClr val="046A38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cxnSp>
          <p:nvCxnSpPr>
            <p:cNvPr id="187" name="Connector: Elbow 23">
              <a:extLst>
                <a:ext uri="{FF2B5EF4-FFF2-40B4-BE49-F238E27FC236}">
                  <a16:creationId xmlns:a16="http://schemas.microsoft.com/office/drawing/2014/main" id="{F244DC08-479D-4701-BBE1-E6AE07B538A8}"/>
                </a:ext>
              </a:extLst>
            </p:cNvPr>
            <p:cNvCxnSpPr>
              <a:cxnSpLocks/>
            </p:cNvCxnSpPr>
            <p:nvPr/>
          </p:nvCxnSpPr>
          <p:spPr>
            <a:xfrm>
              <a:off x="8388811" y="3410548"/>
              <a:ext cx="388488" cy="687417"/>
            </a:xfrm>
            <a:prstGeom prst="curvedConnector2">
              <a:avLst/>
            </a:prstGeom>
            <a:ln w="25400">
              <a:solidFill>
                <a:srgbClr val="046A38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Connector: Elbow 23">
              <a:extLst>
                <a:ext uri="{FF2B5EF4-FFF2-40B4-BE49-F238E27FC236}">
                  <a16:creationId xmlns:a16="http://schemas.microsoft.com/office/drawing/2014/main" id="{40810047-11E2-481B-A725-806855E89249}"/>
                </a:ext>
              </a:extLst>
            </p:cNvPr>
            <p:cNvCxnSpPr>
              <a:cxnSpLocks/>
            </p:cNvCxnSpPr>
            <p:nvPr/>
          </p:nvCxnSpPr>
          <p:spPr>
            <a:xfrm>
              <a:off x="9147472" y="3403930"/>
              <a:ext cx="388488" cy="687417"/>
            </a:xfrm>
            <a:prstGeom prst="curvedConnector2">
              <a:avLst/>
            </a:prstGeom>
            <a:ln w="25400">
              <a:solidFill>
                <a:srgbClr val="046A38"/>
              </a:solidFill>
              <a:tailEnd type="arrow"/>
            </a:ln>
            <a:scene3d>
              <a:camera prst="orthographicFront">
                <a:rot lat="0" lon="10799973" rev="0"/>
              </a:camera>
              <a:lightRig rig="threePt" dir="t"/>
            </a:scene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Connector: Elbow 192">
              <a:extLst>
                <a:ext uri="{FF2B5EF4-FFF2-40B4-BE49-F238E27FC236}">
                  <a16:creationId xmlns:a16="http://schemas.microsoft.com/office/drawing/2014/main" id="{39549A52-1856-4929-89CE-5B011F1EE5C8}"/>
                </a:ext>
              </a:extLst>
            </p:cNvPr>
            <p:cNvCxnSpPr>
              <a:cxnSpLocks/>
              <a:stCxn id="176" idx="36"/>
            </p:cNvCxnSpPr>
            <p:nvPr/>
          </p:nvCxnSpPr>
          <p:spPr>
            <a:xfrm flipH="1">
              <a:off x="9005869" y="1611458"/>
              <a:ext cx="998817" cy="2509301"/>
            </a:xfrm>
            <a:prstGeom prst="bentConnector4">
              <a:avLst>
                <a:gd name="adj1" fmla="val 1800"/>
                <a:gd name="adj2" fmla="val 33622"/>
              </a:avLst>
            </a:prstGeom>
            <a:ln w="25400">
              <a:solidFill>
                <a:schemeClr val="accent2"/>
              </a:solidFill>
              <a:headEnd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6F52F456-F26B-4A4A-9DF2-643714A6F001}"/>
              </a:ext>
            </a:extLst>
          </p:cNvPr>
          <p:cNvCxnSpPr>
            <a:cxnSpLocks/>
          </p:cNvCxnSpPr>
          <p:nvPr/>
        </p:nvCxnSpPr>
        <p:spPr>
          <a:xfrm flipH="1">
            <a:off x="5804034" y="1247109"/>
            <a:ext cx="41962" cy="513444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5F90F08-F455-44DB-A4DA-60BB67BF0769}"/>
              </a:ext>
            </a:extLst>
          </p:cNvPr>
          <p:cNvGrpSpPr/>
          <p:nvPr/>
        </p:nvGrpSpPr>
        <p:grpSpPr>
          <a:xfrm>
            <a:off x="8387658" y="900493"/>
            <a:ext cx="2849777" cy="1073770"/>
            <a:chOff x="8387658" y="900493"/>
            <a:chExt cx="2849777" cy="1073770"/>
          </a:xfrm>
        </p:grpSpPr>
        <p:sp>
          <p:nvSpPr>
            <p:cNvPr id="176" name="Freeform 115">
              <a:extLst>
                <a:ext uri="{FF2B5EF4-FFF2-40B4-BE49-F238E27FC236}">
                  <a16:creationId xmlns:a16="http://schemas.microsoft.com/office/drawing/2014/main" id="{6132D62A-5654-44C7-BA2F-80D89D6E79C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649203" y="900493"/>
              <a:ext cx="710965" cy="710965"/>
            </a:xfrm>
            <a:custGeom>
              <a:avLst/>
              <a:gdLst>
                <a:gd name="T0" fmla="*/ 224 w 512"/>
                <a:gd name="T1" fmla="*/ 309 h 512"/>
                <a:gd name="T2" fmla="*/ 288 w 512"/>
                <a:gd name="T3" fmla="*/ 309 h 512"/>
                <a:gd name="T4" fmla="*/ 288 w 512"/>
                <a:gd name="T5" fmla="*/ 373 h 512"/>
                <a:gd name="T6" fmla="*/ 224 w 512"/>
                <a:gd name="T7" fmla="*/ 373 h 512"/>
                <a:gd name="T8" fmla="*/ 224 w 512"/>
                <a:gd name="T9" fmla="*/ 309 h 512"/>
                <a:gd name="T10" fmla="*/ 224 w 512"/>
                <a:gd name="T11" fmla="*/ 202 h 512"/>
                <a:gd name="T12" fmla="*/ 288 w 512"/>
                <a:gd name="T13" fmla="*/ 202 h 512"/>
                <a:gd name="T14" fmla="*/ 288 w 512"/>
                <a:gd name="T15" fmla="*/ 138 h 512"/>
                <a:gd name="T16" fmla="*/ 224 w 512"/>
                <a:gd name="T17" fmla="*/ 138 h 512"/>
                <a:gd name="T18" fmla="*/ 224 w 512"/>
                <a:gd name="T19" fmla="*/ 202 h 512"/>
                <a:gd name="T20" fmla="*/ 224 w 512"/>
                <a:gd name="T21" fmla="*/ 288 h 512"/>
                <a:gd name="T22" fmla="*/ 288 w 512"/>
                <a:gd name="T23" fmla="*/ 288 h 512"/>
                <a:gd name="T24" fmla="*/ 288 w 512"/>
                <a:gd name="T25" fmla="*/ 224 h 512"/>
                <a:gd name="T26" fmla="*/ 224 w 512"/>
                <a:gd name="T27" fmla="*/ 224 h 512"/>
                <a:gd name="T28" fmla="*/ 224 w 512"/>
                <a:gd name="T29" fmla="*/ 288 h 512"/>
                <a:gd name="T30" fmla="*/ 138 w 512"/>
                <a:gd name="T31" fmla="*/ 288 h 512"/>
                <a:gd name="T32" fmla="*/ 202 w 512"/>
                <a:gd name="T33" fmla="*/ 288 h 512"/>
                <a:gd name="T34" fmla="*/ 202 w 512"/>
                <a:gd name="T35" fmla="*/ 224 h 512"/>
                <a:gd name="T36" fmla="*/ 138 w 512"/>
                <a:gd name="T37" fmla="*/ 224 h 512"/>
                <a:gd name="T38" fmla="*/ 138 w 512"/>
                <a:gd name="T39" fmla="*/ 288 h 512"/>
                <a:gd name="T40" fmla="*/ 138 w 512"/>
                <a:gd name="T41" fmla="*/ 373 h 512"/>
                <a:gd name="T42" fmla="*/ 202 w 512"/>
                <a:gd name="T43" fmla="*/ 373 h 512"/>
                <a:gd name="T44" fmla="*/ 202 w 512"/>
                <a:gd name="T45" fmla="*/ 309 h 512"/>
                <a:gd name="T46" fmla="*/ 138 w 512"/>
                <a:gd name="T47" fmla="*/ 309 h 512"/>
                <a:gd name="T48" fmla="*/ 138 w 512"/>
                <a:gd name="T49" fmla="*/ 373 h 512"/>
                <a:gd name="T50" fmla="*/ 138 w 512"/>
                <a:gd name="T51" fmla="*/ 202 h 512"/>
                <a:gd name="T52" fmla="*/ 202 w 512"/>
                <a:gd name="T53" fmla="*/ 202 h 512"/>
                <a:gd name="T54" fmla="*/ 202 w 512"/>
                <a:gd name="T55" fmla="*/ 138 h 512"/>
                <a:gd name="T56" fmla="*/ 138 w 512"/>
                <a:gd name="T57" fmla="*/ 138 h 512"/>
                <a:gd name="T58" fmla="*/ 138 w 512"/>
                <a:gd name="T59" fmla="*/ 202 h 512"/>
                <a:gd name="T60" fmla="*/ 309 w 512"/>
                <a:gd name="T61" fmla="*/ 202 h 512"/>
                <a:gd name="T62" fmla="*/ 373 w 512"/>
                <a:gd name="T63" fmla="*/ 202 h 512"/>
                <a:gd name="T64" fmla="*/ 373 w 512"/>
                <a:gd name="T65" fmla="*/ 138 h 512"/>
                <a:gd name="T66" fmla="*/ 309 w 512"/>
                <a:gd name="T67" fmla="*/ 138 h 512"/>
                <a:gd name="T68" fmla="*/ 309 w 512"/>
                <a:gd name="T69" fmla="*/ 202 h 512"/>
                <a:gd name="T70" fmla="*/ 512 w 512"/>
                <a:gd name="T71" fmla="*/ 256 h 512"/>
                <a:gd name="T72" fmla="*/ 256 w 512"/>
                <a:gd name="T73" fmla="*/ 512 h 512"/>
                <a:gd name="T74" fmla="*/ 0 w 512"/>
                <a:gd name="T75" fmla="*/ 256 h 512"/>
                <a:gd name="T76" fmla="*/ 256 w 512"/>
                <a:gd name="T77" fmla="*/ 0 h 512"/>
                <a:gd name="T78" fmla="*/ 512 w 512"/>
                <a:gd name="T79" fmla="*/ 256 h 512"/>
                <a:gd name="T80" fmla="*/ 394 w 512"/>
                <a:gd name="T81" fmla="*/ 128 h 512"/>
                <a:gd name="T82" fmla="*/ 384 w 512"/>
                <a:gd name="T83" fmla="*/ 117 h 512"/>
                <a:gd name="T84" fmla="*/ 128 w 512"/>
                <a:gd name="T85" fmla="*/ 117 h 512"/>
                <a:gd name="T86" fmla="*/ 117 w 512"/>
                <a:gd name="T87" fmla="*/ 128 h 512"/>
                <a:gd name="T88" fmla="*/ 117 w 512"/>
                <a:gd name="T89" fmla="*/ 384 h 512"/>
                <a:gd name="T90" fmla="*/ 128 w 512"/>
                <a:gd name="T91" fmla="*/ 394 h 512"/>
                <a:gd name="T92" fmla="*/ 384 w 512"/>
                <a:gd name="T93" fmla="*/ 394 h 512"/>
                <a:gd name="T94" fmla="*/ 394 w 512"/>
                <a:gd name="T95" fmla="*/ 384 h 512"/>
                <a:gd name="T96" fmla="*/ 394 w 512"/>
                <a:gd name="T97" fmla="*/ 128 h 512"/>
                <a:gd name="T98" fmla="*/ 309 w 512"/>
                <a:gd name="T99" fmla="*/ 288 h 512"/>
                <a:gd name="T100" fmla="*/ 373 w 512"/>
                <a:gd name="T101" fmla="*/ 288 h 512"/>
                <a:gd name="T102" fmla="*/ 373 w 512"/>
                <a:gd name="T103" fmla="*/ 224 h 512"/>
                <a:gd name="T104" fmla="*/ 309 w 512"/>
                <a:gd name="T105" fmla="*/ 224 h 512"/>
                <a:gd name="T106" fmla="*/ 309 w 512"/>
                <a:gd name="T107" fmla="*/ 288 h 512"/>
                <a:gd name="T108" fmla="*/ 309 w 512"/>
                <a:gd name="T109" fmla="*/ 373 h 512"/>
                <a:gd name="T110" fmla="*/ 373 w 512"/>
                <a:gd name="T111" fmla="*/ 373 h 512"/>
                <a:gd name="T112" fmla="*/ 373 w 512"/>
                <a:gd name="T113" fmla="*/ 309 h 512"/>
                <a:gd name="T114" fmla="*/ 309 w 512"/>
                <a:gd name="T115" fmla="*/ 309 h 512"/>
                <a:gd name="T116" fmla="*/ 309 w 512"/>
                <a:gd name="T117" fmla="*/ 37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12" h="512">
                  <a:moveTo>
                    <a:pt x="224" y="309"/>
                  </a:moveTo>
                  <a:cubicBezTo>
                    <a:pt x="288" y="309"/>
                    <a:pt x="288" y="309"/>
                    <a:pt x="288" y="309"/>
                  </a:cubicBezTo>
                  <a:cubicBezTo>
                    <a:pt x="288" y="373"/>
                    <a:pt x="288" y="373"/>
                    <a:pt x="288" y="373"/>
                  </a:cubicBezTo>
                  <a:cubicBezTo>
                    <a:pt x="224" y="373"/>
                    <a:pt x="224" y="373"/>
                    <a:pt x="224" y="373"/>
                  </a:cubicBezTo>
                  <a:lnTo>
                    <a:pt x="224" y="309"/>
                  </a:lnTo>
                  <a:close/>
                  <a:moveTo>
                    <a:pt x="224" y="202"/>
                  </a:moveTo>
                  <a:cubicBezTo>
                    <a:pt x="288" y="202"/>
                    <a:pt x="288" y="202"/>
                    <a:pt x="288" y="202"/>
                  </a:cubicBezTo>
                  <a:cubicBezTo>
                    <a:pt x="288" y="138"/>
                    <a:pt x="288" y="138"/>
                    <a:pt x="288" y="138"/>
                  </a:cubicBezTo>
                  <a:cubicBezTo>
                    <a:pt x="224" y="138"/>
                    <a:pt x="224" y="138"/>
                    <a:pt x="224" y="138"/>
                  </a:cubicBezTo>
                  <a:lnTo>
                    <a:pt x="224" y="202"/>
                  </a:lnTo>
                  <a:close/>
                  <a:moveTo>
                    <a:pt x="224" y="288"/>
                  </a:moveTo>
                  <a:cubicBezTo>
                    <a:pt x="288" y="288"/>
                    <a:pt x="288" y="288"/>
                    <a:pt x="288" y="288"/>
                  </a:cubicBezTo>
                  <a:cubicBezTo>
                    <a:pt x="288" y="224"/>
                    <a:pt x="288" y="224"/>
                    <a:pt x="288" y="224"/>
                  </a:cubicBezTo>
                  <a:cubicBezTo>
                    <a:pt x="224" y="224"/>
                    <a:pt x="224" y="224"/>
                    <a:pt x="224" y="224"/>
                  </a:cubicBezTo>
                  <a:lnTo>
                    <a:pt x="224" y="288"/>
                  </a:lnTo>
                  <a:close/>
                  <a:moveTo>
                    <a:pt x="138" y="288"/>
                  </a:moveTo>
                  <a:cubicBezTo>
                    <a:pt x="202" y="288"/>
                    <a:pt x="202" y="288"/>
                    <a:pt x="202" y="288"/>
                  </a:cubicBezTo>
                  <a:cubicBezTo>
                    <a:pt x="202" y="224"/>
                    <a:pt x="202" y="224"/>
                    <a:pt x="202" y="224"/>
                  </a:cubicBezTo>
                  <a:cubicBezTo>
                    <a:pt x="138" y="224"/>
                    <a:pt x="138" y="224"/>
                    <a:pt x="138" y="224"/>
                  </a:cubicBezTo>
                  <a:lnTo>
                    <a:pt x="138" y="288"/>
                  </a:lnTo>
                  <a:close/>
                  <a:moveTo>
                    <a:pt x="138" y="373"/>
                  </a:moveTo>
                  <a:cubicBezTo>
                    <a:pt x="202" y="373"/>
                    <a:pt x="202" y="373"/>
                    <a:pt x="202" y="373"/>
                  </a:cubicBezTo>
                  <a:cubicBezTo>
                    <a:pt x="202" y="309"/>
                    <a:pt x="202" y="309"/>
                    <a:pt x="202" y="309"/>
                  </a:cubicBezTo>
                  <a:cubicBezTo>
                    <a:pt x="138" y="309"/>
                    <a:pt x="138" y="309"/>
                    <a:pt x="138" y="309"/>
                  </a:cubicBezTo>
                  <a:lnTo>
                    <a:pt x="138" y="373"/>
                  </a:lnTo>
                  <a:close/>
                  <a:moveTo>
                    <a:pt x="138" y="202"/>
                  </a:moveTo>
                  <a:cubicBezTo>
                    <a:pt x="202" y="202"/>
                    <a:pt x="202" y="202"/>
                    <a:pt x="202" y="202"/>
                  </a:cubicBezTo>
                  <a:cubicBezTo>
                    <a:pt x="202" y="138"/>
                    <a:pt x="202" y="138"/>
                    <a:pt x="202" y="138"/>
                  </a:cubicBezTo>
                  <a:cubicBezTo>
                    <a:pt x="138" y="138"/>
                    <a:pt x="138" y="138"/>
                    <a:pt x="138" y="138"/>
                  </a:cubicBezTo>
                  <a:lnTo>
                    <a:pt x="138" y="202"/>
                  </a:lnTo>
                  <a:close/>
                  <a:moveTo>
                    <a:pt x="309" y="202"/>
                  </a:moveTo>
                  <a:cubicBezTo>
                    <a:pt x="373" y="202"/>
                    <a:pt x="373" y="202"/>
                    <a:pt x="373" y="202"/>
                  </a:cubicBezTo>
                  <a:cubicBezTo>
                    <a:pt x="373" y="138"/>
                    <a:pt x="373" y="138"/>
                    <a:pt x="373" y="138"/>
                  </a:cubicBezTo>
                  <a:cubicBezTo>
                    <a:pt x="309" y="138"/>
                    <a:pt x="309" y="138"/>
                    <a:pt x="309" y="138"/>
                  </a:cubicBezTo>
                  <a:lnTo>
                    <a:pt x="309" y="202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94" y="128"/>
                  </a:moveTo>
                  <a:cubicBezTo>
                    <a:pt x="394" y="122"/>
                    <a:pt x="390" y="117"/>
                    <a:pt x="384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2" y="117"/>
                    <a:pt x="117" y="122"/>
                    <a:pt x="117" y="128"/>
                  </a:cubicBezTo>
                  <a:cubicBezTo>
                    <a:pt x="117" y="384"/>
                    <a:pt x="117" y="384"/>
                    <a:pt x="117" y="384"/>
                  </a:cubicBezTo>
                  <a:cubicBezTo>
                    <a:pt x="117" y="390"/>
                    <a:pt x="122" y="394"/>
                    <a:pt x="128" y="394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390" y="394"/>
                    <a:pt x="394" y="390"/>
                    <a:pt x="394" y="384"/>
                  </a:cubicBezTo>
                  <a:lnTo>
                    <a:pt x="394" y="128"/>
                  </a:lnTo>
                  <a:close/>
                  <a:moveTo>
                    <a:pt x="309" y="288"/>
                  </a:moveTo>
                  <a:cubicBezTo>
                    <a:pt x="373" y="288"/>
                    <a:pt x="373" y="288"/>
                    <a:pt x="373" y="288"/>
                  </a:cubicBezTo>
                  <a:cubicBezTo>
                    <a:pt x="373" y="224"/>
                    <a:pt x="373" y="224"/>
                    <a:pt x="373" y="224"/>
                  </a:cubicBezTo>
                  <a:cubicBezTo>
                    <a:pt x="309" y="224"/>
                    <a:pt x="309" y="224"/>
                    <a:pt x="309" y="224"/>
                  </a:cubicBezTo>
                  <a:lnTo>
                    <a:pt x="309" y="288"/>
                  </a:lnTo>
                  <a:close/>
                  <a:moveTo>
                    <a:pt x="309" y="373"/>
                  </a:moveTo>
                  <a:cubicBezTo>
                    <a:pt x="373" y="373"/>
                    <a:pt x="373" y="373"/>
                    <a:pt x="373" y="373"/>
                  </a:cubicBezTo>
                  <a:cubicBezTo>
                    <a:pt x="373" y="309"/>
                    <a:pt x="373" y="309"/>
                    <a:pt x="373" y="309"/>
                  </a:cubicBezTo>
                  <a:cubicBezTo>
                    <a:pt x="309" y="309"/>
                    <a:pt x="309" y="309"/>
                    <a:pt x="309" y="309"/>
                  </a:cubicBezTo>
                  <a:lnTo>
                    <a:pt x="309" y="37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FA75B728-37C3-416F-87D2-2C476BF5EC67}"/>
                </a:ext>
              </a:extLst>
            </p:cNvPr>
            <p:cNvSpPr txBox="1"/>
            <p:nvPr/>
          </p:nvSpPr>
          <p:spPr>
            <a:xfrm>
              <a:off x="9979633" y="1577303"/>
              <a:ext cx="1257802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400" b="1" dirty="0"/>
                <a:t>Condition</a:t>
              </a:r>
            </a:p>
          </p:txBody>
        </p:sp>
        <p:cxnSp>
          <p:nvCxnSpPr>
            <p:cNvPr id="201" name="Connector: Elbow 200">
              <a:extLst>
                <a:ext uri="{FF2B5EF4-FFF2-40B4-BE49-F238E27FC236}">
                  <a16:creationId xmlns:a16="http://schemas.microsoft.com/office/drawing/2014/main" id="{0A58A519-8404-4720-A642-87A9612F1F68}"/>
                </a:ext>
              </a:extLst>
            </p:cNvPr>
            <p:cNvCxnSpPr>
              <a:cxnSpLocks/>
              <a:stCxn id="176" idx="36"/>
            </p:cNvCxnSpPr>
            <p:nvPr/>
          </p:nvCxnSpPr>
          <p:spPr>
            <a:xfrm flipH="1">
              <a:off x="8387658" y="1611458"/>
              <a:ext cx="1617028" cy="362805"/>
            </a:xfrm>
            <a:prstGeom prst="bentConnector3">
              <a:avLst>
                <a:gd name="adj1" fmla="val 99849"/>
              </a:avLst>
            </a:prstGeom>
            <a:ln w="25400">
              <a:solidFill>
                <a:schemeClr val="accent2"/>
              </a:solidFill>
              <a:headEnd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8824E575-A860-4C35-BE8B-8D581B71E44B}"/>
              </a:ext>
            </a:extLst>
          </p:cNvPr>
          <p:cNvSpPr txBox="1"/>
          <p:nvPr/>
        </p:nvSpPr>
        <p:spPr>
          <a:xfrm flipH="1">
            <a:off x="2076472" y="183596"/>
            <a:ext cx="2231640" cy="3077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2000" b="1" dirty="0">
                <a:latin typeface="+mj-lt"/>
              </a:rPr>
              <a:t>–</a:t>
            </a:r>
            <a:r>
              <a:rPr lang="en-US" sz="1200" b="1" dirty="0"/>
              <a:t> </a:t>
            </a:r>
            <a:r>
              <a:rPr lang="en-US" sz="2000" b="1" dirty="0">
                <a:latin typeface="+mj-lt"/>
              </a:rPr>
              <a:t>Autoencoder</a:t>
            </a:r>
            <a:endParaRPr lang="en-US" sz="12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EBB245D-972D-45F2-B879-CA0F3C0CA98A}"/>
              </a:ext>
            </a:extLst>
          </p:cNvPr>
          <p:cNvSpPr/>
          <p:nvPr/>
        </p:nvSpPr>
        <p:spPr>
          <a:xfrm>
            <a:off x="4109950" y="151053"/>
            <a:ext cx="25010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latin typeface="+mj-lt"/>
              </a:rPr>
              <a:t>| Conditional GAN</a:t>
            </a:r>
            <a:endParaRPr lang="en-US" dirty="0">
              <a:latin typeface="+mj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26C4A9B-6036-4D71-902B-A27867795F1A}"/>
              </a:ext>
            </a:extLst>
          </p:cNvPr>
          <p:cNvGrpSpPr/>
          <p:nvPr/>
        </p:nvGrpSpPr>
        <p:grpSpPr>
          <a:xfrm>
            <a:off x="285114" y="980490"/>
            <a:ext cx="5075339" cy="2013892"/>
            <a:chOff x="285114" y="980490"/>
            <a:chExt cx="5075339" cy="2013892"/>
          </a:xfrm>
        </p:grpSpPr>
        <p:grpSp>
          <p:nvGrpSpPr>
            <p:cNvPr id="66" name="Group 750">
              <a:extLst>
                <a:ext uri="{FF2B5EF4-FFF2-40B4-BE49-F238E27FC236}">
                  <a16:creationId xmlns:a16="http://schemas.microsoft.com/office/drawing/2014/main" id="{D63D8F27-232D-464F-B3EF-EB4FB2E247D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51930" y="1986406"/>
              <a:ext cx="744477" cy="744477"/>
              <a:chOff x="6961" y="3142"/>
              <a:chExt cx="340" cy="340"/>
            </a:xfrm>
            <a:solidFill>
              <a:schemeClr val="accent2"/>
            </a:solidFill>
          </p:grpSpPr>
          <p:sp>
            <p:nvSpPr>
              <p:cNvPr id="67" name="Freeform 751">
                <a:extLst>
                  <a:ext uri="{FF2B5EF4-FFF2-40B4-BE49-F238E27FC236}">
                    <a16:creationId xmlns:a16="http://schemas.microsoft.com/office/drawing/2014/main" id="{48F0066F-CE5F-4B6B-BDAA-AECF7284AF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1" y="3142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8" name="Freeform 752">
                <a:extLst>
                  <a:ext uri="{FF2B5EF4-FFF2-40B4-BE49-F238E27FC236}">
                    <a16:creationId xmlns:a16="http://schemas.microsoft.com/office/drawing/2014/main" id="{262835B5-E699-4D8D-B521-2A87EFD310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37" y="3206"/>
                <a:ext cx="187" cy="185"/>
              </a:xfrm>
              <a:custGeom>
                <a:avLst/>
                <a:gdLst>
                  <a:gd name="T0" fmla="*/ 274 w 281"/>
                  <a:gd name="T1" fmla="*/ 257 h 279"/>
                  <a:gd name="T2" fmla="*/ 228 w 281"/>
                  <a:gd name="T3" fmla="*/ 246 h 279"/>
                  <a:gd name="T4" fmla="*/ 204 w 281"/>
                  <a:gd name="T5" fmla="*/ 242 h 279"/>
                  <a:gd name="T6" fmla="*/ 187 w 281"/>
                  <a:gd name="T7" fmla="*/ 194 h 279"/>
                  <a:gd name="T8" fmla="*/ 217 w 281"/>
                  <a:gd name="T9" fmla="*/ 126 h 279"/>
                  <a:gd name="T10" fmla="*/ 209 w 281"/>
                  <a:gd name="T11" fmla="*/ 28 h 279"/>
                  <a:gd name="T12" fmla="*/ 141 w 281"/>
                  <a:gd name="T13" fmla="*/ 0 h 279"/>
                  <a:gd name="T14" fmla="*/ 72 w 281"/>
                  <a:gd name="T15" fmla="*/ 28 h 279"/>
                  <a:gd name="T16" fmla="*/ 65 w 281"/>
                  <a:gd name="T17" fmla="*/ 126 h 279"/>
                  <a:gd name="T18" fmla="*/ 94 w 281"/>
                  <a:gd name="T19" fmla="*/ 193 h 279"/>
                  <a:gd name="T20" fmla="*/ 77 w 281"/>
                  <a:gd name="T21" fmla="*/ 242 h 279"/>
                  <a:gd name="T22" fmla="*/ 53 w 281"/>
                  <a:gd name="T23" fmla="*/ 246 h 279"/>
                  <a:gd name="T24" fmla="*/ 7 w 281"/>
                  <a:gd name="T25" fmla="*/ 257 h 279"/>
                  <a:gd name="T26" fmla="*/ 3 w 281"/>
                  <a:gd name="T27" fmla="*/ 272 h 279"/>
                  <a:gd name="T28" fmla="*/ 18 w 281"/>
                  <a:gd name="T29" fmla="*/ 276 h 279"/>
                  <a:gd name="T30" fmla="*/ 56 w 281"/>
                  <a:gd name="T31" fmla="*/ 267 h 279"/>
                  <a:gd name="T32" fmla="*/ 87 w 281"/>
                  <a:gd name="T33" fmla="*/ 261 h 279"/>
                  <a:gd name="T34" fmla="*/ 113 w 281"/>
                  <a:gd name="T35" fmla="*/ 219 h 279"/>
                  <a:gd name="T36" fmla="*/ 112 w 281"/>
                  <a:gd name="T37" fmla="*/ 182 h 279"/>
                  <a:gd name="T38" fmla="*/ 85 w 281"/>
                  <a:gd name="T39" fmla="*/ 120 h 279"/>
                  <a:gd name="T40" fmla="*/ 80 w 281"/>
                  <a:gd name="T41" fmla="*/ 63 h 279"/>
                  <a:gd name="T42" fmla="*/ 125 w 281"/>
                  <a:gd name="T43" fmla="*/ 79 h 279"/>
                  <a:gd name="T44" fmla="*/ 155 w 281"/>
                  <a:gd name="T45" fmla="*/ 74 h 279"/>
                  <a:gd name="T46" fmla="*/ 159 w 281"/>
                  <a:gd name="T47" fmla="*/ 71 h 279"/>
                  <a:gd name="T48" fmla="*/ 162 w 281"/>
                  <a:gd name="T49" fmla="*/ 68 h 279"/>
                  <a:gd name="T50" fmla="*/ 165 w 281"/>
                  <a:gd name="T51" fmla="*/ 71 h 279"/>
                  <a:gd name="T52" fmla="*/ 172 w 281"/>
                  <a:gd name="T53" fmla="*/ 74 h 279"/>
                  <a:gd name="T54" fmla="*/ 201 w 281"/>
                  <a:gd name="T55" fmla="*/ 63 h 279"/>
                  <a:gd name="T56" fmla="*/ 196 w 281"/>
                  <a:gd name="T57" fmla="*/ 120 h 279"/>
                  <a:gd name="T58" fmla="*/ 170 w 281"/>
                  <a:gd name="T59" fmla="*/ 182 h 279"/>
                  <a:gd name="T60" fmla="*/ 169 w 281"/>
                  <a:gd name="T61" fmla="*/ 219 h 279"/>
                  <a:gd name="T62" fmla="*/ 194 w 281"/>
                  <a:gd name="T63" fmla="*/ 261 h 279"/>
                  <a:gd name="T64" fmla="*/ 226 w 281"/>
                  <a:gd name="T65" fmla="*/ 267 h 279"/>
                  <a:gd name="T66" fmla="*/ 263 w 281"/>
                  <a:gd name="T67" fmla="*/ 276 h 279"/>
                  <a:gd name="T68" fmla="*/ 269 w 281"/>
                  <a:gd name="T69" fmla="*/ 277 h 279"/>
                  <a:gd name="T70" fmla="*/ 278 w 281"/>
                  <a:gd name="T71" fmla="*/ 272 h 279"/>
                  <a:gd name="T72" fmla="*/ 274 w 281"/>
                  <a:gd name="T73" fmla="*/ 257 h 279"/>
                  <a:gd name="T74" fmla="*/ 177 w 281"/>
                  <a:gd name="T75" fmla="*/ 53 h 279"/>
                  <a:gd name="T76" fmla="*/ 170 w 281"/>
                  <a:gd name="T77" fmla="*/ 45 h 279"/>
                  <a:gd name="T78" fmla="*/ 154 w 281"/>
                  <a:gd name="T79" fmla="*/ 45 h 279"/>
                  <a:gd name="T80" fmla="*/ 146 w 281"/>
                  <a:gd name="T81" fmla="*/ 54 h 279"/>
                  <a:gd name="T82" fmla="*/ 89 w 281"/>
                  <a:gd name="T83" fmla="*/ 41 h 279"/>
                  <a:gd name="T84" fmla="*/ 89 w 281"/>
                  <a:gd name="T85" fmla="*/ 41 h 279"/>
                  <a:gd name="T86" fmla="*/ 141 w 281"/>
                  <a:gd name="T87" fmla="*/ 21 h 279"/>
                  <a:gd name="T88" fmla="*/ 192 w 281"/>
                  <a:gd name="T89" fmla="*/ 41 h 279"/>
                  <a:gd name="T90" fmla="*/ 193 w 281"/>
                  <a:gd name="T91" fmla="*/ 41 h 279"/>
                  <a:gd name="T92" fmla="*/ 177 w 281"/>
                  <a:gd name="T93" fmla="*/ 5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81" h="279">
                    <a:moveTo>
                      <a:pt x="274" y="257"/>
                    </a:moveTo>
                    <a:cubicBezTo>
                      <a:pt x="260" y="249"/>
                      <a:pt x="243" y="248"/>
                      <a:pt x="228" y="246"/>
                    </a:cubicBezTo>
                    <a:cubicBezTo>
                      <a:pt x="218" y="245"/>
                      <a:pt x="208" y="244"/>
                      <a:pt x="204" y="242"/>
                    </a:cubicBezTo>
                    <a:cubicBezTo>
                      <a:pt x="193" y="236"/>
                      <a:pt x="184" y="201"/>
                      <a:pt x="187" y="194"/>
                    </a:cubicBezTo>
                    <a:cubicBezTo>
                      <a:pt x="200" y="176"/>
                      <a:pt x="212" y="144"/>
                      <a:pt x="217" y="126"/>
                    </a:cubicBezTo>
                    <a:cubicBezTo>
                      <a:pt x="223" y="102"/>
                      <a:pt x="232" y="58"/>
                      <a:pt x="209" y="28"/>
                    </a:cubicBezTo>
                    <a:cubicBezTo>
                      <a:pt x="195" y="9"/>
                      <a:pt x="172" y="0"/>
                      <a:pt x="141" y="0"/>
                    </a:cubicBezTo>
                    <a:cubicBezTo>
                      <a:pt x="109" y="0"/>
                      <a:pt x="86" y="9"/>
                      <a:pt x="72" y="28"/>
                    </a:cubicBezTo>
                    <a:cubicBezTo>
                      <a:pt x="50" y="58"/>
                      <a:pt x="58" y="102"/>
                      <a:pt x="65" y="126"/>
                    </a:cubicBezTo>
                    <a:cubicBezTo>
                      <a:pt x="70" y="144"/>
                      <a:pt x="82" y="176"/>
                      <a:pt x="94" y="193"/>
                    </a:cubicBezTo>
                    <a:cubicBezTo>
                      <a:pt x="97" y="201"/>
                      <a:pt x="88" y="236"/>
                      <a:pt x="77" y="242"/>
                    </a:cubicBezTo>
                    <a:cubicBezTo>
                      <a:pt x="73" y="244"/>
                      <a:pt x="63" y="245"/>
                      <a:pt x="53" y="246"/>
                    </a:cubicBezTo>
                    <a:cubicBezTo>
                      <a:pt x="38" y="248"/>
                      <a:pt x="21" y="249"/>
                      <a:pt x="7" y="257"/>
                    </a:cubicBezTo>
                    <a:cubicBezTo>
                      <a:pt x="2" y="260"/>
                      <a:pt x="0" y="266"/>
                      <a:pt x="3" y="272"/>
                    </a:cubicBezTo>
                    <a:cubicBezTo>
                      <a:pt x="6" y="277"/>
                      <a:pt x="13" y="279"/>
                      <a:pt x="18" y="276"/>
                    </a:cubicBezTo>
                    <a:cubicBezTo>
                      <a:pt x="28" y="270"/>
                      <a:pt x="43" y="269"/>
                      <a:pt x="56" y="267"/>
                    </a:cubicBezTo>
                    <a:cubicBezTo>
                      <a:pt x="68" y="266"/>
                      <a:pt x="79" y="265"/>
                      <a:pt x="87" y="261"/>
                    </a:cubicBezTo>
                    <a:cubicBezTo>
                      <a:pt x="103" y="252"/>
                      <a:pt x="110" y="229"/>
                      <a:pt x="113" y="219"/>
                    </a:cubicBezTo>
                    <a:cubicBezTo>
                      <a:pt x="115" y="210"/>
                      <a:pt x="118" y="192"/>
                      <a:pt x="112" y="182"/>
                    </a:cubicBezTo>
                    <a:cubicBezTo>
                      <a:pt x="101" y="167"/>
                      <a:pt x="90" y="137"/>
                      <a:pt x="85" y="120"/>
                    </a:cubicBezTo>
                    <a:cubicBezTo>
                      <a:pt x="82" y="109"/>
                      <a:pt x="76" y="84"/>
                      <a:pt x="80" y="63"/>
                    </a:cubicBezTo>
                    <a:cubicBezTo>
                      <a:pt x="94" y="75"/>
                      <a:pt x="110" y="79"/>
                      <a:pt x="125" y="79"/>
                    </a:cubicBezTo>
                    <a:cubicBezTo>
                      <a:pt x="137" y="79"/>
                      <a:pt x="148" y="76"/>
                      <a:pt x="155" y="74"/>
                    </a:cubicBezTo>
                    <a:cubicBezTo>
                      <a:pt x="156" y="73"/>
                      <a:pt x="158" y="72"/>
                      <a:pt x="159" y="71"/>
                    </a:cubicBezTo>
                    <a:cubicBezTo>
                      <a:pt x="162" y="68"/>
                      <a:pt x="162" y="68"/>
                      <a:pt x="162" y="68"/>
                    </a:cubicBezTo>
                    <a:cubicBezTo>
                      <a:pt x="165" y="71"/>
                      <a:pt x="165" y="71"/>
                      <a:pt x="165" y="71"/>
                    </a:cubicBezTo>
                    <a:cubicBezTo>
                      <a:pt x="167" y="73"/>
                      <a:pt x="169" y="74"/>
                      <a:pt x="172" y="74"/>
                    </a:cubicBezTo>
                    <a:cubicBezTo>
                      <a:pt x="173" y="74"/>
                      <a:pt x="187" y="75"/>
                      <a:pt x="201" y="63"/>
                    </a:cubicBezTo>
                    <a:cubicBezTo>
                      <a:pt x="205" y="84"/>
                      <a:pt x="199" y="109"/>
                      <a:pt x="196" y="120"/>
                    </a:cubicBezTo>
                    <a:cubicBezTo>
                      <a:pt x="191" y="137"/>
                      <a:pt x="180" y="167"/>
                      <a:pt x="170" y="182"/>
                    </a:cubicBezTo>
                    <a:cubicBezTo>
                      <a:pt x="163" y="192"/>
                      <a:pt x="166" y="210"/>
                      <a:pt x="169" y="219"/>
                    </a:cubicBezTo>
                    <a:cubicBezTo>
                      <a:pt x="171" y="229"/>
                      <a:pt x="178" y="252"/>
                      <a:pt x="194" y="261"/>
                    </a:cubicBezTo>
                    <a:cubicBezTo>
                      <a:pt x="202" y="265"/>
                      <a:pt x="213" y="266"/>
                      <a:pt x="226" y="267"/>
                    </a:cubicBezTo>
                    <a:cubicBezTo>
                      <a:pt x="239" y="269"/>
                      <a:pt x="254" y="270"/>
                      <a:pt x="263" y="276"/>
                    </a:cubicBezTo>
                    <a:cubicBezTo>
                      <a:pt x="265" y="277"/>
                      <a:pt x="267" y="277"/>
                      <a:pt x="269" y="277"/>
                    </a:cubicBezTo>
                    <a:cubicBezTo>
                      <a:pt x="272" y="277"/>
                      <a:pt x="276" y="275"/>
                      <a:pt x="278" y="272"/>
                    </a:cubicBezTo>
                    <a:cubicBezTo>
                      <a:pt x="281" y="266"/>
                      <a:pt x="279" y="260"/>
                      <a:pt x="274" y="257"/>
                    </a:cubicBezTo>
                    <a:close/>
                    <a:moveTo>
                      <a:pt x="177" y="53"/>
                    </a:moveTo>
                    <a:cubicBezTo>
                      <a:pt x="170" y="45"/>
                      <a:pt x="170" y="45"/>
                      <a:pt x="170" y="45"/>
                    </a:cubicBezTo>
                    <a:cubicBezTo>
                      <a:pt x="165" y="41"/>
                      <a:pt x="159" y="41"/>
                      <a:pt x="154" y="45"/>
                    </a:cubicBezTo>
                    <a:cubicBezTo>
                      <a:pt x="146" y="54"/>
                      <a:pt x="146" y="54"/>
                      <a:pt x="146" y="54"/>
                    </a:cubicBezTo>
                    <a:cubicBezTo>
                      <a:pt x="137" y="57"/>
                      <a:pt x="106" y="64"/>
                      <a:pt x="89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9" y="28"/>
                      <a:pt x="116" y="21"/>
                      <a:pt x="141" y="21"/>
                    </a:cubicBezTo>
                    <a:cubicBezTo>
                      <a:pt x="165" y="21"/>
                      <a:pt x="182" y="28"/>
                      <a:pt x="192" y="41"/>
                    </a:cubicBezTo>
                    <a:cubicBezTo>
                      <a:pt x="192" y="41"/>
                      <a:pt x="192" y="41"/>
                      <a:pt x="193" y="41"/>
                    </a:cubicBezTo>
                    <a:cubicBezTo>
                      <a:pt x="187" y="49"/>
                      <a:pt x="180" y="52"/>
                      <a:pt x="177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69" name="Group 750">
              <a:extLst>
                <a:ext uri="{FF2B5EF4-FFF2-40B4-BE49-F238E27FC236}">
                  <a16:creationId xmlns:a16="http://schemas.microsoft.com/office/drawing/2014/main" id="{01959899-FD41-467E-8293-A0D51B20338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308113" y="2001024"/>
              <a:ext cx="744477" cy="744477"/>
              <a:chOff x="6961" y="3142"/>
              <a:chExt cx="340" cy="340"/>
            </a:xfrm>
            <a:solidFill>
              <a:schemeClr val="accent2"/>
            </a:solidFill>
          </p:grpSpPr>
          <p:sp>
            <p:nvSpPr>
              <p:cNvPr id="70" name="Freeform 751">
                <a:extLst>
                  <a:ext uri="{FF2B5EF4-FFF2-40B4-BE49-F238E27FC236}">
                    <a16:creationId xmlns:a16="http://schemas.microsoft.com/office/drawing/2014/main" id="{DD12073E-F49F-4B88-B749-083ECD7E2C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1" y="3142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2" name="Freeform 752">
                <a:extLst>
                  <a:ext uri="{FF2B5EF4-FFF2-40B4-BE49-F238E27FC236}">
                    <a16:creationId xmlns:a16="http://schemas.microsoft.com/office/drawing/2014/main" id="{7EDAABB4-7535-44FD-B48E-53BE8A3F70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37" y="3206"/>
                <a:ext cx="187" cy="185"/>
              </a:xfrm>
              <a:custGeom>
                <a:avLst/>
                <a:gdLst>
                  <a:gd name="T0" fmla="*/ 274 w 281"/>
                  <a:gd name="T1" fmla="*/ 257 h 279"/>
                  <a:gd name="T2" fmla="*/ 228 w 281"/>
                  <a:gd name="T3" fmla="*/ 246 h 279"/>
                  <a:gd name="T4" fmla="*/ 204 w 281"/>
                  <a:gd name="T5" fmla="*/ 242 h 279"/>
                  <a:gd name="T6" fmla="*/ 187 w 281"/>
                  <a:gd name="T7" fmla="*/ 194 h 279"/>
                  <a:gd name="T8" fmla="*/ 217 w 281"/>
                  <a:gd name="T9" fmla="*/ 126 h 279"/>
                  <a:gd name="T10" fmla="*/ 209 w 281"/>
                  <a:gd name="T11" fmla="*/ 28 h 279"/>
                  <a:gd name="T12" fmla="*/ 141 w 281"/>
                  <a:gd name="T13" fmla="*/ 0 h 279"/>
                  <a:gd name="T14" fmla="*/ 72 w 281"/>
                  <a:gd name="T15" fmla="*/ 28 h 279"/>
                  <a:gd name="T16" fmla="*/ 65 w 281"/>
                  <a:gd name="T17" fmla="*/ 126 h 279"/>
                  <a:gd name="T18" fmla="*/ 94 w 281"/>
                  <a:gd name="T19" fmla="*/ 193 h 279"/>
                  <a:gd name="T20" fmla="*/ 77 w 281"/>
                  <a:gd name="T21" fmla="*/ 242 h 279"/>
                  <a:gd name="T22" fmla="*/ 53 w 281"/>
                  <a:gd name="T23" fmla="*/ 246 h 279"/>
                  <a:gd name="T24" fmla="*/ 7 w 281"/>
                  <a:gd name="T25" fmla="*/ 257 h 279"/>
                  <a:gd name="T26" fmla="*/ 3 w 281"/>
                  <a:gd name="T27" fmla="*/ 272 h 279"/>
                  <a:gd name="T28" fmla="*/ 18 w 281"/>
                  <a:gd name="T29" fmla="*/ 276 h 279"/>
                  <a:gd name="T30" fmla="*/ 56 w 281"/>
                  <a:gd name="T31" fmla="*/ 267 h 279"/>
                  <a:gd name="T32" fmla="*/ 87 w 281"/>
                  <a:gd name="T33" fmla="*/ 261 h 279"/>
                  <a:gd name="T34" fmla="*/ 113 w 281"/>
                  <a:gd name="T35" fmla="*/ 219 h 279"/>
                  <a:gd name="T36" fmla="*/ 112 w 281"/>
                  <a:gd name="T37" fmla="*/ 182 h 279"/>
                  <a:gd name="T38" fmla="*/ 85 w 281"/>
                  <a:gd name="T39" fmla="*/ 120 h 279"/>
                  <a:gd name="T40" fmla="*/ 80 w 281"/>
                  <a:gd name="T41" fmla="*/ 63 h 279"/>
                  <a:gd name="T42" fmla="*/ 125 w 281"/>
                  <a:gd name="T43" fmla="*/ 79 h 279"/>
                  <a:gd name="T44" fmla="*/ 155 w 281"/>
                  <a:gd name="T45" fmla="*/ 74 h 279"/>
                  <a:gd name="T46" fmla="*/ 159 w 281"/>
                  <a:gd name="T47" fmla="*/ 71 h 279"/>
                  <a:gd name="T48" fmla="*/ 162 w 281"/>
                  <a:gd name="T49" fmla="*/ 68 h 279"/>
                  <a:gd name="T50" fmla="*/ 165 w 281"/>
                  <a:gd name="T51" fmla="*/ 71 h 279"/>
                  <a:gd name="T52" fmla="*/ 172 w 281"/>
                  <a:gd name="T53" fmla="*/ 74 h 279"/>
                  <a:gd name="T54" fmla="*/ 201 w 281"/>
                  <a:gd name="T55" fmla="*/ 63 h 279"/>
                  <a:gd name="T56" fmla="*/ 196 w 281"/>
                  <a:gd name="T57" fmla="*/ 120 h 279"/>
                  <a:gd name="T58" fmla="*/ 170 w 281"/>
                  <a:gd name="T59" fmla="*/ 182 h 279"/>
                  <a:gd name="T60" fmla="*/ 169 w 281"/>
                  <a:gd name="T61" fmla="*/ 219 h 279"/>
                  <a:gd name="T62" fmla="*/ 194 w 281"/>
                  <a:gd name="T63" fmla="*/ 261 h 279"/>
                  <a:gd name="T64" fmla="*/ 226 w 281"/>
                  <a:gd name="T65" fmla="*/ 267 h 279"/>
                  <a:gd name="T66" fmla="*/ 263 w 281"/>
                  <a:gd name="T67" fmla="*/ 276 h 279"/>
                  <a:gd name="T68" fmla="*/ 269 w 281"/>
                  <a:gd name="T69" fmla="*/ 277 h 279"/>
                  <a:gd name="T70" fmla="*/ 278 w 281"/>
                  <a:gd name="T71" fmla="*/ 272 h 279"/>
                  <a:gd name="T72" fmla="*/ 274 w 281"/>
                  <a:gd name="T73" fmla="*/ 257 h 279"/>
                  <a:gd name="T74" fmla="*/ 177 w 281"/>
                  <a:gd name="T75" fmla="*/ 53 h 279"/>
                  <a:gd name="T76" fmla="*/ 170 w 281"/>
                  <a:gd name="T77" fmla="*/ 45 h 279"/>
                  <a:gd name="T78" fmla="*/ 154 w 281"/>
                  <a:gd name="T79" fmla="*/ 45 h 279"/>
                  <a:gd name="T80" fmla="*/ 146 w 281"/>
                  <a:gd name="T81" fmla="*/ 54 h 279"/>
                  <a:gd name="T82" fmla="*/ 89 w 281"/>
                  <a:gd name="T83" fmla="*/ 41 h 279"/>
                  <a:gd name="T84" fmla="*/ 89 w 281"/>
                  <a:gd name="T85" fmla="*/ 41 h 279"/>
                  <a:gd name="T86" fmla="*/ 141 w 281"/>
                  <a:gd name="T87" fmla="*/ 21 h 279"/>
                  <a:gd name="T88" fmla="*/ 192 w 281"/>
                  <a:gd name="T89" fmla="*/ 41 h 279"/>
                  <a:gd name="T90" fmla="*/ 193 w 281"/>
                  <a:gd name="T91" fmla="*/ 41 h 279"/>
                  <a:gd name="T92" fmla="*/ 177 w 281"/>
                  <a:gd name="T93" fmla="*/ 5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81" h="279">
                    <a:moveTo>
                      <a:pt x="274" y="257"/>
                    </a:moveTo>
                    <a:cubicBezTo>
                      <a:pt x="260" y="249"/>
                      <a:pt x="243" y="248"/>
                      <a:pt x="228" y="246"/>
                    </a:cubicBezTo>
                    <a:cubicBezTo>
                      <a:pt x="218" y="245"/>
                      <a:pt x="208" y="244"/>
                      <a:pt x="204" y="242"/>
                    </a:cubicBezTo>
                    <a:cubicBezTo>
                      <a:pt x="193" y="236"/>
                      <a:pt x="184" y="201"/>
                      <a:pt x="187" y="194"/>
                    </a:cubicBezTo>
                    <a:cubicBezTo>
                      <a:pt x="200" y="176"/>
                      <a:pt x="212" y="144"/>
                      <a:pt x="217" y="126"/>
                    </a:cubicBezTo>
                    <a:cubicBezTo>
                      <a:pt x="223" y="102"/>
                      <a:pt x="232" y="58"/>
                      <a:pt x="209" y="28"/>
                    </a:cubicBezTo>
                    <a:cubicBezTo>
                      <a:pt x="195" y="9"/>
                      <a:pt x="172" y="0"/>
                      <a:pt x="141" y="0"/>
                    </a:cubicBezTo>
                    <a:cubicBezTo>
                      <a:pt x="109" y="0"/>
                      <a:pt x="86" y="9"/>
                      <a:pt x="72" y="28"/>
                    </a:cubicBezTo>
                    <a:cubicBezTo>
                      <a:pt x="50" y="58"/>
                      <a:pt x="58" y="102"/>
                      <a:pt x="65" y="126"/>
                    </a:cubicBezTo>
                    <a:cubicBezTo>
                      <a:pt x="70" y="144"/>
                      <a:pt x="82" y="176"/>
                      <a:pt x="94" y="193"/>
                    </a:cubicBezTo>
                    <a:cubicBezTo>
                      <a:pt x="97" y="201"/>
                      <a:pt x="88" y="236"/>
                      <a:pt x="77" y="242"/>
                    </a:cubicBezTo>
                    <a:cubicBezTo>
                      <a:pt x="73" y="244"/>
                      <a:pt x="63" y="245"/>
                      <a:pt x="53" y="246"/>
                    </a:cubicBezTo>
                    <a:cubicBezTo>
                      <a:pt x="38" y="248"/>
                      <a:pt x="21" y="249"/>
                      <a:pt x="7" y="257"/>
                    </a:cubicBezTo>
                    <a:cubicBezTo>
                      <a:pt x="2" y="260"/>
                      <a:pt x="0" y="266"/>
                      <a:pt x="3" y="272"/>
                    </a:cubicBezTo>
                    <a:cubicBezTo>
                      <a:pt x="6" y="277"/>
                      <a:pt x="13" y="279"/>
                      <a:pt x="18" y="276"/>
                    </a:cubicBezTo>
                    <a:cubicBezTo>
                      <a:pt x="28" y="270"/>
                      <a:pt x="43" y="269"/>
                      <a:pt x="56" y="267"/>
                    </a:cubicBezTo>
                    <a:cubicBezTo>
                      <a:pt x="68" y="266"/>
                      <a:pt x="79" y="265"/>
                      <a:pt x="87" y="261"/>
                    </a:cubicBezTo>
                    <a:cubicBezTo>
                      <a:pt x="103" y="252"/>
                      <a:pt x="110" y="229"/>
                      <a:pt x="113" y="219"/>
                    </a:cubicBezTo>
                    <a:cubicBezTo>
                      <a:pt x="115" y="210"/>
                      <a:pt x="118" y="192"/>
                      <a:pt x="112" y="182"/>
                    </a:cubicBezTo>
                    <a:cubicBezTo>
                      <a:pt x="101" y="167"/>
                      <a:pt x="90" y="137"/>
                      <a:pt x="85" y="120"/>
                    </a:cubicBezTo>
                    <a:cubicBezTo>
                      <a:pt x="82" y="109"/>
                      <a:pt x="76" y="84"/>
                      <a:pt x="80" y="63"/>
                    </a:cubicBezTo>
                    <a:cubicBezTo>
                      <a:pt x="94" y="75"/>
                      <a:pt x="110" y="79"/>
                      <a:pt x="125" y="79"/>
                    </a:cubicBezTo>
                    <a:cubicBezTo>
                      <a:pt x="137" y="79"/>
                      <a:pt x="148" y="76"/>
                      <a:pt x="155" y="74"/>
                    </a:cubicBezTo>
                    <a:cubicBezTo>
                      <a:pt x="156" y="73"/>
                      <a:pt x="158" y="72"/>
                      <a:pt x="159" y="71"/>
                    </a:cubicBezTo>
                    <a:cubicBezTo>
                      <a:pt x="162" y="68"/>
                      <a:pt x="162" y="68"/>
                      <a:pt x="162" y="68"/>
                    </a:cubicBezTo>
                    <a:cubicBezTo>
                      <a:pt x="165" y="71"/>
                      <a:pt x="165" y="71"/>
                      <a:pt x="165" y="71"/>
                    </a:cubicBezTo>
                    <a:cubicBezTo>
                      <a:pt x="167" y="73"/>
                      <a:pt x="169" y="74"/>
                      <a:pt x="172" y="74"/>
                    </a:cubicBezTo>
                    <a:cubicBezTo>
                      <a:pt x="173" y="74"/>
                      <a:pt x="187" y="75"/>
                      <a:pt x="201" y="63"/>
                    </a:cubicBezTo>
                    <a:cubicBezTo>
                      <a:pt x="205" y="84"/>
                      <a:pt x="199" y="109"/>
                      <a:pt x="196" y="120"/>
                    </a:cubicBezTo>
                    <a:cubicBezTo>
                      <a:pt x="191" y="137"/>
                      <a:pt x="180" y="167"/>
                      <a:pt x="170" y="182"/>
                    </a:cubicBezTo>
                    <a:cubicBezTo>
                      <a:pt x="163" y="192"/>
                      <a:pt x="166" y="210"/>
                      <a:pt x="169" y="219"/>
                    </a:cubicBezTo>
                    <a:cubicBezTo>
                      <a:pt x="171" y="229"/>
                      <a:pt x="178" y="252"/>
                      <a:pt x="194" y="261"/>
                    </a:cubicBezTo>
                    <a:cubicBezTo>
                      <a:pt x="202" y="265"/>
                      <a:pt x="213" y="266"/>
                      <a:pt x="226" y="267"/>
                    </a:cubicBezTo>
                    <a:cubicBezTo>
                      <a:pt x="239" y="269"/>
                      <a:pt x="254" y="270"/>
                      <a:pt x="263" y="276"/>
                    </a:cubicBezTo>
                    <a:cubicBezTo>
                      <a:pt x="265" y="277"/>
                      <a:pt x="267" y="277"/>
                      <a:pt x="269" y="277"/>
                    </a:cubicBezTo>
                    <a:cubicBezTo>
                      <a:pt x="272" y="277"/>
                      <a:pt x="276" y="275"/>
                      <a:pt x="278" y="272"/>
                    </a:cubicBezTo>
                    <a:cubicBezTo>
                      <a:pt x="281" y="266"/>
                      <a:pt x="279" y="260"/>
                      <a:pt x="274" y="257"/>
                    </a:cubicBezTo>
                    <a:close/>
                    <a:moveTo>
                      <a:pt x="177" y="53"/>
                    </a:moveTo>
                    <a:cubicBezTo>
                      <a:pt x="170" y="45"/>
                      <a:pt x="170" y="45"/>
                      <a:pt x="170" y="45"/>
                    </a:cubicBezTo>
                    <a:cubicBezTo>
                      <a:pt x="165" y="41"/>
                      <a:pt x="159" y="41"/>
                      <a:pt x="154" y="45"/>
                    </a:cubicBezTo>
                    <a:cubicBezTo>
                      <a:pt x="146" y="54"/>
                      <a:pt x="146" y="54"/>
                      <a:pt x="146" y="54"/>
                    </a:cubicBezTo>
                    <a:cubicBezTo>
                      <a:pt x="137" y="57"/>
                      <a:pt x="106" y="64"/>
                      <a:pt x="89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9" y="28"/>
                      <a:pt x="116" y="21"/>
                      <a:pt x="141" y="21"/>
                    </a:cubicBezTo>
                    <a:cubicBezTo>
                      <a:pt x="165" y="21"/>
                      <a:pt x="182" y="28"/>
                      <a:pt x="192" y="41"/>
                    </a:cubicBezTo>
                    <a:cubicBezTo>
                      <a:pt x="192" y="41"/>
                      <a:pt x="192" y="41"/>
                      <a:pt x="193" y="41"/>
                    </a:cubicBezTo>
                    <a:cubicBezTo>
                      <a:pt x="187" y="49"/>
                      <a:pt x="180" y="52"/>
                      <a:pt x="177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85F54F0-F68E-4DB7-A86C-28EE8001C2A3}"/>
                </a:ext>
              </a:extLst>
            </p:cNvPr>
            <p:cNvSpPr txBox="1"/>
            <p:nvPr/>
          </p:nvSpPr>
          <p:spPr>
            <a:xfrm>
              <a:off x="285114" y="980490"/>
              <a:ext cx="1257802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400" b="1" dirty="0"/>
                <a:t>Input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2FBA3A65-1AB3-421E-BA0F-6897D6725D1E}"/>
                </a:ext>
              </a:extLst>
            </p:cNvPr>
            <p:cNvSpPr txBox="1"/>
            <p:nvPr/>
          </p:nvSpPr>
          <p:spPr>
            <a:xfrm>
              <a:off x="2193882" y="998848"/>
              <a:ext cx="1257802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400" b="1" dirty="0"/>
                <a:t>Code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43C639C5-7BC2-48D1-BEA3-9D327778E982}"/>
                </a:ext>
              </a:extLst>
            </p:cNvPr>
            <p:cNvSpPr txBox="1"/>
            <p:nvPr/>
          </p:nvSpPr>
          <p:spPr>
            <a:xfrm>
              <a:off x="4102651" y="980821"/>
              <a:ext cx="1257802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400" b="1" dirty="0"/>
                <a:t>Output</a:t>
              </a:r>
            </a:p>
          </p:txBody>
        </p:sp>
        <p:sp>
          <p:nvSpPr>
            <p:cNvPr id="87" name="Freeform 7">
              <a:extLst>
                <a:ext uri="{FF2B5EF4-FFF2-40B4-BE49-F238E27FC236}">
                  <a16:creationId xmlns:a16="http://schemas.microsoft.com/office/drawing/2014/main" id="{ED688A30-1F2D-45AD-A3E6-DCF21C66F461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1345006" y="2085658"/>
              <a:ext cx="1271467" cy="545982"/>
            </a:xfrm>
            <a:custGeom>
              <a:avLst/>
              <a:gdLst>
                <a:gd name="T0" fmla="*/ 0 w 1398"/>
                <a:gd name="T1" fmla="*/ 981075 h 618"/>
                <a:gd name="T2" fmla="*/ 555625 w 1398"/>
                <a:gd name="T3" fmla="*/ 0 h 618"/>
                <a:gd name="T4" fmla="*/ 1662113 w 1398"/>
                <a:gd name="T5" fmla="*/ 0 h 618"/>
                <a:gd name="T6" fmla="*/ 2219325 w 1398"/>
                <a:gd name="T7" fmla="*/ 981075 h 618"/>
                <a:gd name="T8" fmla="*/ 0 w 1398"/>
                <a:gd name="T9" fmla="*/ 981075 h 6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98"/>
                <a:gd name="T16" fmla="*/ 0 h 618"/>
                <a:gd name="T17" fmla="*/ 1398 w 1398"/>
                <a:gd name="T18" fmla="*/ 618 h 6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98" h="618">
                  <a:moveTo>
                    <a:pt x="0" y="618"/>
                  </a:moveTo>
                  <a:lnTo>
                    <a:pt x="350" y="0"/>
                  </a:lnTo>
                  <a:lnTo>
                    <a:pt x="1047" y="0"/>
                  </a:lnTo>
                  <a:lnTo>
                    <a:pt x="1398" y="618"/>
                  </a:lnTo>
                  <a:lnTo>
                    <a:pt x="0" y="618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 eaLnBrk="0" hangingPunct="0"/>
              <a:endParaRPr lang="en-US" sz="1200" dirty="0"/>
            </a:p>
          </p:txBody>
        </p:sp>
        <p:sp>
          <p:nvSpPr>
            <p:cNvPr id="90" name="Freeform 7">
              <a:extLst>
                <a:ext uri="{FF2B5EF4-FFF2-40B4-BE49-F238E27FC236}">
                  <a16:creationId xmlns:a16="http://schemas.microsoft.com/office/drawing/2014/main" id="{8E86F406-89CC-40AF-927D-1AE3C508F38E}"/>
                </a:ext>
              </a:extLst>
            </p:cNvPr>
            <p:cNvSpPr>
              <a:spLocks/>
            </p:cNvSpPr>
            <p:nvPr/>
          </p:nvSpPr>
          <p:spPr bwMode="gray">
            <a:xfrm rot="5400000" flipV="1">
              <a:off x="2988048" y="2068224"/>
              <a:ext cx="1271467" cy="545982"/>
            </a:xfrm>
            <a:custGeom>
              <a:avLst/>
              <a:gdLst>
                <a:gd name="T0" fmla="*/ 0 w 1398"/>
                <a:gd name="T1" fmla="*/ 981075 h 618"/>
                <a:gd name="T2" fmla="*/ 555625 w 1398"/>
                <a:gd name="T3" fmla="*/ 0 h 618"/>
                <a:gd name="T4" fmla="*/ 1662113 w 1398"/>
                <a:gd name="T5" fmla="*/ 0 h 618"/>
                <a:gd name="T6" fmla="*/ 2219325 w 1398"/>
                <a:gd name="T7" fmla="*/ 981075 h 618"/>
                <a:gd name="T8" fmla="*/ 0 w 1398"/>
                <a:gd name="T9" fmla="*/ 981075 h 6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98"/>
                <a:gd name="T16" fmla="*/ 0 h 618"/>
                <a:gd name="T17" fmla="*/ 1398 w 1398"/>
                <a:gd name="T18" fmla="*/ 618 h 6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98" h="618">
                  <a:moveTo>
                    <a:pt x="0" y="618"/>
                  </a:moveTo>
                  <a:lnTo>
                    <a:pt x="350" y="0"/>
                  </a:lnTo>
                  <a:lnTo>
                    <a:pt x="1047" y="0"/>
                  </a:lnTo>
                  <a:lnTo>
                    <a:pt x="1398" y="618"/>
                  </a:lnTo>
                  <a:lnTo>
                    <a:pt x="0" y="618"/>
                  </a:lnTo>
                  <a:close/>
                </a:path>
              </a:pathLst>
            </a:custGeom>
            <a:solidFill>
              <a:srgbClr val="0070C0"/>
            </a:solidFill>
            <a:ln w="12700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 eaLnBrk="0" hangingPunct="0"/>
              <a:endParaRPr lang="en-US" sz="1200" dirty="0"/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6E2F4055-CC2F-4D03-8ACF-0D2E7DBF70F0}"/>
                </a:ext>
              </a:extLst>
            </p:cNvPr>
            <p:cNvSpPr txBox="1"/>
            <p:nvPr/>
          </p:nvSpPr>
          <p:spPr>
            <a:xfrm>
              <a:off x="1379957" y="1354679"/>
              <a:ext cx="1257802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400" b="1" dirty="0"/>
                <a:t>Encoder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1CB571A1-3C7E-44E7-9692-D57529A51D09}"/>
                </a:ext>
              </a:extLst>
            </p:cNvPr>
            <p:cNvSpPr txBox="1"/>
            <p:nvPr/>
          </p:nvSpPr>
          <p:spPr>
            <a:xfrm>
              <a:off x="3056027" y="1349083"/>
              <a:ext cx="1257802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400" b="1" dirty="0"/>
                <a:t>Decoder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8295B0B0-B3E3-4326-A0D4-036060588BC3}"/>
                </a:ext>
              </a:extLst>
            </p:cNvPr>
            <p:cNvSpPr txBox="1"/>
            <p:nvPr/>
          </p:nvSpPr>
          <p:spPr>
            <a:xfrm>
              <a:off x="3443250" y="2241604"/>
              <a:ext cx="350758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400" b="1" dirty="0"/>
                <a:t>A</a:t>
              </a:r>
            </a:p>
          </p:txBody>
        </p:sp>
        <p:sp>
          <p:nvSpPr>
            <p:cNvPr id="195" name="Freeform 142">
              <a:extLst>
                <a:ext uri="{FF2B5EF4-FFF2-40B4-BE49-F238E27FC236}">
                  <a16:creationId xmlns:a16="http://schemas.microsoft.com/office/drawing/2014/main" id="{6BE8FD4C-8C52-4DD6-80EE-4ABD6BDAECC9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402274" y="2243867"/>
              <a:ext cx="139682" cy="229554"/>
            </a:xfrm>
            <a:custGeom>
              <a:avLst/>
              <a:gdLst>
                <a:gd name="T0" fmla="*/ 190 w 194"/>
                <a:gd name="T1" fmla="*/ 216 h 320"/>
                <a:gd name="T2" fmla="*/ 174 w 194"/>
                <a:gd name="T3" fmla="*/ 216 h 320"/>
                <a:gd name="T4" fmla="*/ 107 w 194"/>
                <a:gd name="T5" fmla="*/ 283 h 320"/>
                <a:gd name="T6" fmla="*/ 107 w 194"/>
                <a:gd name="T7" fmla="*/ 10 h 320"/>
                <a:gd name="T8" fmla="*/ 97 w 194"/>
                <a:gd name="T9" fmla="*/ 0 h 320"/>
                <a:gd name="T10" fmla="*/ 86 w 194"/>
                <a:gd name="T11" fmla="*/ 10 h 320"/>
                <a:gd name="T12" fmla="*/ 86 w 194"/>
                <a:gd name="T13" fmla="*/ 283 h 320"/>
                <a:gd name="T14" fmla="*/ 19 w 194"/>
                <a:gd name="T15" fmla="*/ 216 h 320"/>
                <a:gd name="T16" fmla="*/ 4 w 194"/>
                <a:gd name="T17" fmla="*/ 216 h 320"/>
                <a:gd name="T18" fmla="*/ 4 w 194"/>
                <a:gd name="T19" fmla="*/ 231 h 320"/>
                <a:gd name="T20" fmla="*/ 89 w 194"/>
                <a:gd name="T21" fmla="*/ 317 h 320"/>
                <a:gd name="T22" fmla="*/ 93 w 194"/>
                <a:gd name="T23" fmla="*/ 319 h 320"/>
                <a:gd name="T24" fmla="*/ 97 w 194"/>
                <a:gd name="T25" fmla="*/ 320 h 320"/>
                <a:gd name="T26" fmla="*/ 101 w 194"/>
                <a:gd name="T27" fmla="*/ 319 h 320"/>
                <a:gd name="T28" fmla="*/ 104 w 194"/>
                <a:gd name="T29" fmla="*/ 317 h 320"/>
                <a:gd name="T30" fmla="*/ 190 w 194"/>
                <a:gd name="T31" fmla="*/ 231 h 320"/>
                <a:gd name="T32" fmla="*/ 190 w 194"/>
                <a:gd name="T33" fmla="*/ 21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4" h="320">
                  <a:moveTo>
                    <a:pt x="190" y="216"/>
                  </a:moveTo>
                  <a:cubicBezTo>
                    <a:pt x="185" y="212"/>
                    <a:pt x="179" y="212"/>
                    <a:pt x="174" y="216"/>
                  </a:cubicBezTo>
                  <a:cubicBezTo>
                    <a:pt x="107" y="283"/>
                    <a:pt x="107" y="283"/>
                    <a:pt x="107" y="283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4"/>
                    <a:pt x="103" y="0"/>
                    <a:pt x="97" y="0"/>
                  </a:cubicBezTo>
                  <a:cubicBezTo>
                    <a:pt x="91" y="0"/>
                    <a:pt x="86" y="4"/>
                    <a:pt x="86" y="10"/>
                  </a:cubicBezTo>
                  <a:cubicBezTo>
                    <a:pt x="86" y="283"/>
                    <a:pt x="86" y="283"/>
                    <a:pt x="86" y="283"/>
                  </a:cubicBezTo>
                  <a:cubicBezTo>
                    <a:pt x="19" y="216"/>
                    <a:pt x="19" y="216"/>
                    <a:pt x="19" y="216"/>
                  </a:cubicBezTo>
                  <a:cubicBezTo>
                    <a:pt x="15" y="212"/>
                    <a:pt x="8" y="212"/>
                    <a:pt x="4" y="216"/>
                  </a:cubicBezTo>
                  <a:cubicBezTo>
                    <a:pt x="0" y="220"/>
                    <a:pt x="0" y="227"/>
                    <a:pt x="4" y="231"/>
                  </a:cubicBezTo>
                  <a:cubicBezTo>
                    <a:pt x="89" y="317"/>
                    <a:pt x="89" y="317"/>
                    <a:pt x="89" y="317"/>
                  </a:cubicBezTo>
                  <a:cubicBezTo>
                    <a:pt x="90" y="318"/>
                    <a:pt x="91" y="318"/>
                    <a:pt x="93" y="319"/>
                  </a:cubicBezTo>
                  <a:cubicBezTo>
                    <a:pt x="94" y="319"/>
                    <a:pt x="95" y="320"/>
                    <a:pt x="97" y="320"/>
                  </a:cubicBezTo>
                  <a:cubicBezTo>
                    <a:pt x="98" y="320"/>
                    <a:pt x="99" y="319"/>
                    <a:pt x="101" y="319"/>
                  </a:cubicBezTo>
                  <a:cubicBezTo>
                    <a:pt x="102" y="318"/>
                    <a:pt x="103" y="318"/>
                    <a:pt x="104" y="317"/>
                  </a:cubicBezTo>
                  <a:cubicBezTo>
                    <a:pt x="190" y="231"/>
                    <a:pt x="190" y="231"/>
                    <a:pt x="190" y="231"/>
                  </a:cubicBezTo>
                  <a:cubicBezTo>
                    <a:pt x="194" y="227"/>
                    <a:pt x="194" y="220"/>
                    <a:pt x="190" y="216"/>
                  </a:cubicBezTo>
                  <a:close/>
                </a:path>
              </a:pathLst>
            </a:custGeom>
            <a:solidFill>
              <a:schemeClr val="accent2"/>
            </a:solidFill>
            <a:ln>
              <a:solidFill>
                <a:srgbClr val="046A38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0" name="Freeform 142">
              <a:extLst>
                <a:ext uri="{FF2B5EF4-FFF2-40B4-BE49-F238E27FC236}">
                  <a16:creationId xmlns:a16="http://schemas.microsoft.com/office/drawing/2014/main" id="{CB862F5A-D3CD-49EF-989E-3F78861B20BA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4047007" y="2256916"/>
              <a:ext cx="139682" cy="229554"/>
            </a:xfrm>
            <a:custGeom>
              <a:avLst/>
              <a:gdLst>
                <a:gd name="T0" fmla="*/ 190 w 194"/>
                <a:gd name="T1" fmla="*/ 216 h 320"/>
                <a:gd name="T2" fmla="*/ 174 w 194"/>
                <a:gd name="T3" fmla="*/ 216 h 320"/>
                <a:gd name="T4" fmla="*/ 107 w 194"/>
                <a:gd name="T5" fmla="*/ 283 h 320"/>
                <a:gd name="T6" fmla="*/ 107 w 194"/>
                <a:gd name="T7" fmla="*/ 10 h 320"/>
                <a:gd name="T8" fmla="*/ 97 w 194"/>
                <a:gd name="T9" fmla="*/ 0 h 320"/>
                <a:gd name="T10" fmla="*/ 86 w 194"/>
                <a:gd name="T11" fmla="*/ 10 h 320"/>
                <a:gd name="T12" fmla="*/ 86 w 194"/>
                <a:gd name="T13" fmla="*/ 283 h 320"/>
                <a:gd name="T14" fmla="*/ 19 w 194"/>
                <a:gd name="T15" fmla="*/ 216 h 320"/>
                <a:gd name="T16" fmla="*/ 4 w 194"/>
                <a:gd name="T17" fmla="*/ 216 h 320"/>
                <a:gd name="T18" fmla="*/ 4 w 194"/>
                <a:gd name="T19" fmla="*/ 231 h 320"/>
                <a:gd name="T20" fmla="*/ 89 w 194"/>
                <a:gd name="T21" fmla="*/ 317 h 320"/>
                <a:gd name="T22" fmla="*/ 93 w 194"/>
                <a:gd name="T23" fmla="*/ 319 h 320"/>
                <a:gd name="T24" fmla="*/ 97 w 194"/>
                <a:gd name="T25" fmla="*/ 320 h 320"/>
                <a:gd name="T26" fmla="*/ 101 w 194"/>
                <a:gd name="T27" fmla="*/ 319 h 320"/>
                <a:gd name="T28" fmla="*/ 104 w 194"/>
                <a:gd name="T29" fmla="*/ 317 h 320"/>
                <a:gd name="T30" fmla="*/ 190 w 194"/>
                <a:gd name="T31" fmla="*/ 231 h 320"/>
                <a:gd name="T32" fmla="*/ 190 w 194"/>
                <a:gd name="T33" fmla="*/ 21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4" h="320">
                  <a:moveTo>
                    <a:pt x="190" y="216"/>
                  </a:moveTo>
                  <a:cubicBezTo>
                    <a:pt x="185" y="212"/>
                    <a:pt x="179" y="212"/>
                    <a:pt x="174" y="216"/>
                  </a:cubicBezTo>
                  <a:cubicBezTo>
                    <a:pt x="107" y="283"/>
                    <a:pt x="107" y="283"/>
                    <a:pt x="107" y="283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4"/>
                    <a:pt x="103" y="0"/>
                    <a:pt x="97" y="0"/>
                  </a:cubicBezTo>
                  <a:cubicBezTo>
                    <a:pt x="91" y="0"/>
                    <a:pt x="86" y="4"/>
                    <a:pt x="86" y="10"/>
                  </a:cubicBezTo>
                  <a:cubicBezTo>
                    <a:pt x="86" y="283"/>
                    <a:pt x="86" y="283"/>
                    <a:pt x="86" y="283"/>
                  </a:cubicBezTo>
                  <a:cubicBezTo>
                    <a:pt x="19" y="216"/>
                    <a:pt x="19" y="216"/>
                    <a:pt x="19" y="216"/>
                  </a:cubicBezTo>
                  <a:cubicBezTo>
                    <a:pt x="15" y="212"/>
                    <a:pt x="8" y="212"/>
                    <a:pt x="4" y="216"/>
                  </a:cubicBezTo>
                  <a:cubicBezTo>
                    <a:pt x="0" y="220"/>
                    <a:pt x="0" y="227"/>
                    <a:pt x="4" y="231"/>
                  </a:cubicBezTo>
                  <a:cubicBezTo>
                    <a:pt x="89" y="317"/>
                    <a:pt x="89" y="317"/>
                    <a:pt x="89" y="317"/>
                  </a:cubicBezTo>
                  <a:cubicBezTo>
                    <a:pt x="90" y="318"/>
                    <a:pt x="91" y="318"/>
                    <a:pt x="93" y="319"/>
                  </a:cubicBezTo>
                  <a:cubicBezTo>
                    <a:pt x="94" y="319"/>
                    <a:pt x="95" y="320"/>
                    <a:pt x="97" y="320"/>
                  </a:cubicBezTo>
                  <a:cubicBezTo>
                    <a:pt x="98" y="320"/>
                    <a:pt x="99" y="319"/>
                    <a:pt x="101" y="319"/>
                  </a:cubicBezTo>
                  <a:cubicBezTo>
                    <a:pt x="102" y="318"/>
                    <a:pt x="103" y="318"/>
                    <a:pt x="104" y="317"/>
                  </a:cubicBezTo>
                  <a:cubicBezTo>
                    <a:pt x="190" y="231"/>
                    <a:pt x="190" y="231"/>
                    <a:pt x="190" y="231"/>
                  </a:cubicBezTo>
                  <a:cubicBezTo>
                    <a:pt x="194" y="227"/>
                    <a:pt x="194" y="220"/>
                    <a:pt x="190" y="216"/>
                  </a:cubicBezTo>
                  <a:close/>
                </a:path>
              </a:pathLst>
            </a:custGeom>
            <a:solidFill>
              <a:schemeClr val="accent2"/>
            </a:solidFill>
            <a:ln>
              <a:solidFill>
                <a:srgbClr val="046A38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40D8A211-CF37-4264-8F70-9504DD6D0E07}"/>
                </a:ext>
              </a:extLst>
            </p:cNvPr>
            <p:cNvSpPr txBox="1"/>
            <p:nvPr/>
          </p:nvSpPr>
          <p:spPr>
            <a:xfrm>
              <a:off x="2524932" y="1991924"/>
              <a:ext cx="515417" cy="69249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000" b="1" dirty="0"/>
                <a:t>0101</a:t>
              </a:r>
            </a:p>
            <a:p>
              <a:pPr algn="ctr">
                <a:spcBef>
                  <a:spcPts val="200"/>
                </a:spcBef>
                <a:buSzPct val="100000"/>
              </a:pPr>
              <a:r>
                <a:rPr lang="en-US" sz="1000" b="1" dirty="0"/>
                <a:t>1101</a:t>
              </a:r>
            </a:p>
            <a:p>
              <a:pPr algn="ctr">
                <a:spcBef>
                  <a:spcPts val="200"/>
                </a:spcBef>
                <a:buSzPct val="100000"/>
              </a:pPr>
              <a:r>
                <a:rPr lang="en-US" sz="1000" b="1" dirty="0"/>
                <a:t>1000</a:t>
              </a:r>
            </a:p>
            <a:p>
              <a:pPr algn="ctr">
                <a:spcBef>
                  <a:spcPts val="200"/>
                </a:spcBef>
                <a:buSzPct val="100000"/>
              </a:pPr>
              <a:r>
                <a:rPr lang="en-US" sz="1000" b="1" dirty="0"/>
                <a:t>0011</a:t>
              </a:r>
            </a:p>
          </p:txBody>
        </p:sp>
        <p:sp>
          <p:nvSpPr>
            <p:cNvPr id="80" name="Freeform 142">
              <a:extLst>
                <a:ext uri="{FF2B5EF4-FFF2-40B4-BE49-F238E27FC236}">
                  <a16:creationId xmlns:a16="http://schemas.microsoft.com/office/drawing/2014/main" id="{38924BEA-9FAC-4291-985E-1BDC211C4F0F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2327227" y="2253169"/>
              <a:ext cx="139682" cy="229554"/>
            </a:xfrm>
            <a:custGeom>
              <a:avLst/>
              <a:gdLst>
                <a:gd name="T0" fmla="*/ 190 w 194"/>
                <a:gd name="T1" fmla="*/ 216 h 320"/>
                <a:gd name="T2" fmla="*/ 174 w 194"/>
                <a:gd name="T3" fmla="*/ 216 h 320"/>
                <a:gd name="T4" fmla="*/ 107 w 194"/>
                <a:gd name="T5" fmla="*/ 283 h 320"/>
                <a:gd name="T6" fmla="*/ 107 w 194"/>
                <a:gd name="T7" fmla="*/ 10 h 320"/>
                <a:gd name="T8" fmla="*/ 97 w 194"/>
                <a:gd name="T9" fmla="*/ 0 h 320"/>
                <a:gd name="T10" fmla="*/ 86 w 194"/>
                <a:gd name="T11" fmla="*/ 10 h 320"/>
                <a:gd name="T12" fmla="*/ 86 w 194"/>
                <a:gd name="T13" fmla="*/ 283 h 320"/>
                <a:gd name="T14" fmla="*/ 19 w 194"/>
                <a:gd name="T15" fmla="*/ 216 h 320"/>
                <a:gd name="T16" fmla="*/ 4 w 194"/>
                <a:gd name="T17" fmla="*/ 216 h 320"/>
                <a:gd name="T18" fmla="*/ 4 w 194"/>
                <a:gd name="T19" fmla="*/ 231 h 320"/>
                <a:gd name="T20" fmla="*/ 89 w 194"/>
                <a:gd name="T21" fmla="*/ 317 h 320"/>
                <a:gd name="T22" fmla="*/ 93 w 194"/>
                <a:gd name="T23" fmla="*/ 319 h 320"/>
                <a:gd name="T24" fmla="*/ 97 w 194"/>
                <a:gd name="T25" fmla="*/ 320 h 320"/>
                <a:gd name="T26" fmla="*/ 101 w 194"/>
                <a:gd name="T27" fmla="*/ 319 h 320"/>
                <a:gd name="T28" fmla="*/ 104 w 194"/>
                <a:gd name="T29" fmla="*/ 317 h 320"/>
                <a:gd name="T30" fmla="*/ 190 w 194"/>
                <a:gd name="T31" fmla="*/ 231 h 320"/>
                <a:gd name="T32" fmla="*/ 190 w 194"/>
                <a:gd name="T33" fmla="*/ 21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4" h="320">
                  <a:moveTo>
                    <a:pt x="190" y="216"/>
                  </a:moveTo>
                  <a:cubicBezTo>
                    <a:pt x="185" y="212"/>
                    <a:pt x="179" y="212"/>
                    <a:pt x="174" y="216"/>
                  </a:cubicBezTo>
                  <a:cubicBezTo>
                    <a:pt x="107" y="283"/>
                    <a:pt x="107" y="283"/>
                    <a:pt x="107" y="283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4"/>
                    <a:pt x="103" y="0"/>
                    <a:pt x="97" y="0"/>
                  </a:cubicBezTo>
                  <a:cubicBezTo>
                    <a:pt x="91" y="0"/>
                    <a:pt x="86" y="4"/>
                    <a:pt x="86" y="10"/>
                  </a:cubicBezTo>
                  <a:cubicBezTo>
                    <a:pt x="86" y="283"/>
                    <a:pt x="86" y="283"/>
                    <a:pt x="86" y="283"/>
                  </a:cubicBezTo>
                  <a:cubicBezTo>
                    <a:pt x="19" y="216"/>
                    <a:pt x="19" y="216"/>
                    <a:pt x="19" y="216"/>
                  </a:cubicBezTo>
                  <a:cubicBezTo>
                    <a:pt x="15" y="212"/>
                    <a:pt x="8" y="212"/>
                    <a:pt x="4" y="216"/>
                  </a:cubicBezTo>
                  <a:cubicBezTo>
                    <a:pt x="0" y="220"/>
                    <a:pt x="0" y="227"/>
                    <a:pt x="4" y="231"/>
                  </a:cubicBezTo>
                  <a:cubicBezTo>
                    <a:pt x="89" y="317"/>
                    <a:pt x="89" y="317"/>
                    <a:pt x="89" y="317"/>
                  </a:cubicBezTo>
                  <a:cubicBezTo>
                    <a:pt x="90" y="318"/>
                    <a:pt x="91" y="318"/>
                    <a:pt x="93" y="319"/>
                  </a:cubicBezTo>
                  <a:cubicBezTo>
                    <a:pt x="94" y="319"/>
                    <a:pt x="95" y="320"/>
                    <a:pt x="97" y="320"/>
                  </a:cubicBezTo>
                  <a:cubicBezTo>
                    <a:pt x="98" y="320"/>
                    <a:pt x="99" y="319"/>
                    <a:pt x="101" y="319"/>
                  </a:cubicBezTo>
                  <a:cubicBezTo>
                    <a:pt x="102" y="318"/>
                    <a:pt x="103" y="318"/>
                    <a:pt x="104" y="317"/>
                  </a:cubicBezTo>
                  <a:cubicBezTo>
                    <a:pt x="190" y="231"/>
                    <a:pt x="190" y="231"/>
                    <a:pt x="190" y="231"/>
                  </a:cubicBezTo>
                  <a:cubicBezTo>
                    <a:pt x="194" y="227"/>
                    <a:pt x="194" y="220"/>
                    <a:pt x="190" y="216"/>
                  </a:cubicBezTo>
                  <a:close/>
                </a:path>
              </a:pathLst>
            </a:custGeom>
            <a:solidFill>
              <a:schemeClr val="accent2"/>
            </a:solidFill>
            <a:ln>
              <a:solidFill>
                <a:srgbClr val="046A38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7" name="Freeform 142">
              <a:extLst>
                <a:ext uri="{FF2B5EF4-FFF2-40B4-BE49-F238E27FC236}">
                  <a16:creationId xmlns:a16="http://schemas.microsoft.com/office/drawing/2014/main" id="{A729E175-5BE3-4531-BAD9-4A3176325E8B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063406" y="2243867"/>
              <a:ext cx="139682" cy="229554"/>
            </a:xfrm>
            <a:custGeom>
              <a:avLst/>
              <a:gdLst>
                <a:gd name="T0" fmla="*/ 190 w 194"/>
                <a:gd name="T1" fmla="*/ 216 h 320"/>
                <a:gd name="T2" fmla="*/ 174 w 194"/>
                <a:gd name="T3" fmla="*/ 216 h 320"/>
                <a:gd name="T4" fmla="*/ 107 w 194"/>
                <a:gd name="T5" fmla="*/ 283 h 320"/>
                <a:gd name="T6" fmla="*/ 107 w 194"/>
                <a:gd name="T7" fmla="*/ 10 h 320"/>
                <a:gd name="T8" fmla="*/ 97 w 194"/>
                <a:gd name="T9" fmla="*/ 0 h 320"/>
                <a:gd name="T10" fmla="*/ 86 w 194"/>
                <a:gd name="T11" fmla="*/ 10 h 320"/>
                <a:gd name="T12" fmla="*/ 86 w 194"/>
                <a:gd name="T13" fmla="*/ 283 h 320"/>
                <a:gd name="T14" fmla="*/ 19 w 194"/>
                <a:gd name="T15" fmla="*/ 216 h 320"/>
                <a:gd name="T16" fmla="*/ 4 w 194"/>
                <a:gd name="T17" fmla="*/ 216 h 320"/>
                <a:gd name="T18" fmla="*/ 4 w 194"/>
                <a:gd name="T19" fmla="*/ 231 h 320"/>
                <a:gd name="T20" fmla="*/ 89 w 194"/>
                <a:gd name="T21" fmla="*/ 317 h 320"/>
                <a:gd name="T22" fmla="*/ 93 w 194"/>
                <a:gd name="T23" fmla="*/ 319 h 320"/>
                <a:gd name="T24" fmla="*/ 97 w 194"/>
                <a:gd name="T25" fmla="*/ 320 h 320"/>
                <a:gd name="T26" fmla="*/ 101 w 194"/>
                <a:gd name="T27" fmla="*/ 319 h 320"/>
                <a:gd name="T28" fmla="*/ 104 w 194"/>
                <a:gd name="T29" fmla="*/ 317 h 320"/>
                <a:gd name="T30" fmla="*/ 190 w 194"/>
                <a:gd name="T31" fmla="*/ 231 h 320"/>
                <a:gd name="T32" fmla="*/ 190 w 194"/>
                <a:gd name="T33" fmla="*/ 21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4" h="320">
                  <a:moveTo>
                    <a:pt x="190" y="216"/>
                  </a:moveTo>
                  <a:cubicBezTo>
                    <a:pt x="185" y="212"/>
                    <a:pt x="179" y="212"/>
                    <a:pt x="174" y="216"/>
                  </a:cubicBezTo>
                  <a:cubicBezTo>
                    <a:pt x="107" y="283"/>
                    <a:pt x="107" y="283"/>
                    <a:pt x="107" y="283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4"/>
                    <a:pt x="103" y="0"/>
                    <a:pt x="97" y="0"/>
                  </a:cubicBezTo>
                  <a:cubicBezTo>
                    <a:pt x="91" y="0"/>
                    <a:pt x="86" y="4"/>
                    <a:pt x="86" y="10"/>
                  </a:cubicBezTo>
                  <a:cubicBezTo>
                    <a:pt x="86" y="283"/>
                    <a:pt x="86" y="283"/>
                    <a:pt x="86" y="283"/>
                  </a:cubicBezTo>
                  <a:cubicBezTo>
                    <a:pt x="19" y="216"/>
                    <a:pt x="19" y="216"/>
                    <a:pt x="19" y="216"/>
                  </a:cubicBezTo>
                  <a:cubicBezTo>
                    <a:pt x="15" y="212"/>
                    <a:pt x="8" y="212"/>
                    <a:pt x="4" y="216"/>
                  </a:cubicBezTo>
                  <a:cubicBezTo>
                    <a:pt x="0" y="220"/>
                    <a:pt x="0" y="227"/>
                    <a:pt x="4" y="231"/>
                  </a:cubicBezTo>
                  <a:cubicBezTo>
                    <a:pt x="89" y="317"/>
                    <a:pt x="89" y="317"/>
                    <a:pt x="89" y="317"/>
                  </a:cubicBezTo>
                  <a:cubicBezTo>
                    <a:pt x="90" y="318"/>
                    <a:pt x="91" y="318"/>
                    <a:pt x="93" y="319"/>
                  </a:cubicBezTo>
                  <a:cubicBezTo>
                    <a:pt x="94" y="319"/>
                    <a:pt x="95" y="320"/>
                    <a:pt x="97" y="320"/>
                  </a:cubicBezTo>
                  <a:cubicBezTo>
                    <a:pt x="98" y="320"/>
                    <a:pt x="99" y="319"/>
                    <a:pt x="101" y="319"/>
                  </a:cubicBezTo>
                  <a:cubicBezTo>
                    <a:pt x="102" y="318"/>
                    <a:pt x="103" y="318"/>
                    <a:pt x="104" y="317"/>
                  </a:cubicBezTo>
                  <a:cubicBezTo>
                    <a:pt x="190" y="231"/>
                    <a:pt x="190" y="231"/>
                    <a:pt x="190" y="231"/>
                  </a:cubicBezTo>
                  <a:cubicBezTo>
                    <a:pt x="194" y="227"/>
                    <a:pt x="194" y="220"/>
                    <a:pt x="190" y="216"/>
                  </a:cubicBezTo>
                  <a:close/>
                </a:path>
              </a:pathLst>
            </a:custGeom>
            <a:solidFill>
              <a:schemeClr val="accent2"/>
            </a:solidFill>
            <a:ln>
              <a:solidFill>
                <a:srgbClr val="046A38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0D10093-4D62-4B88-92E4-71959548941A}"/>
              </a:ext>
            </a:extLst>
          </p:cNvPr>
          <p:cNvGrpSpPr/>
          <p:nvPr/>
        </p:nvGrpSpPr>
        <p:grpSpPr>
          <a:xfrm>
            <a:off x="551930" y="4960883"/>
            <a:ext cx="4500659" cy="1271799"/>
            <a:chOff x="551930" y="4960883"/>
            <a:chExt cx="4500659" cy="1271799"/>
          </a:xfrm>
        </p:grpSpPr>
        <p:grpSp>
          <p:nvGrpSpPr>
            <p:cNvPr id="76" name="Group 750">
              <a:extLst>
                <a:ext uri="{FF2B5EF4-FFF2-40B4-BE49-F238E27FC236}">
                  <a16:creationId xmlns:a16="http://schemas.microsoft.com/office/drawing/2014/main" id="{BF1B7628-08C5-4F05-8A19-287B2D365D9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51930" y="5253939"/>
              <a:ext cx="744477" cy="744477"/>
              <a:chOff x="6961" y="3142"/>
              <a:chExt cx="340" cy="340"/>
            </a:xfrm>
            <a:solidFill>
              <a:schemeClr val="accent2"/>
            </a:solidFill>
          </p:grpSpPr>
          <p:sp>
            <p:nvSpPr>
              <p:cNvPr id="77" name="Freeform 751">
                <a:extLst>
                  <a:ext uri="{FF2B5EF4-FFF2-40B4-BE49-F238E27FC236}">
                    <a16:creationId xmlns:a16="http://schemas.microsoft.com/office/drawing/2014/main" id="{0C94DAC8-436E-40BC-B6CA-EC038360BC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1" y="3142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8" name="Freeform 752">
                <a:extLst>
                  <a:ext uri="{FF2B5EF4-FFF2-40B4-BE49-F238E27FC236}">
                    <a16:creationId xmlns:a16="http://schemas.microsoft.com/office/drawing/2014/main" id="{BB10E240-8318-4AB1-A6EB-819469902B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37" y="3206"/>
                <a:ext cx="187" cy="185"/>
              </a:xfrm>
              <a:custGeom>
                <a:avLst/>
                <a:gdLst>
                  <a:gd name="T0" fmla="*/ 274 w 281"/>
                  <a:gd name="T1" fmla="*/ 257 h 279"/>
                  <a:gd name="T2" fmla="*/ 228 w 281"/>
                  <a:gd name="T3" fmla="*/ 246 h 279"/>
                  <a:gd name="T4" fmla="*/ 204 w 281"/>
                  <a:gd name="T5" fmla="*/ 242 h 279"/>
                  <a:gd name="T6" fmla="*/ 187 w 281"/>
                  <a:gd name="T7" fmla="*/ 194 h 279"/>
                  <a:gd name="T8" fmla="*/ 217 w 281"/>
                  <a:gd name="T9" fmla="*/ 126 h 279"/>
                  <a:gd name="T10" fmla="*/ 209 w 281"/>
                  <a:gd name="T11" fmla="*/ 28 h 279"/>
                  <a:gd name="T12" fmla="*/ 141 w 281"/>
                  <a:gd name="T13" fmla="*/ 0 h 279"/>
                  <a:gd name="T14" fmla="*/ 72 w 281"/>
                  <a:gd name="T15" fmla="*/ 28 h 279"/>
                  <a:gd name="T16" fmla="*/ 65 w 281"/>
                  <a:gd name="T17" fmla="*/ 126 h 279"/>
                  <a:gd name="T18" fmla="*/ 94 w 281"/>
                  <a:gd name="T19" fmla="*/ 193 h 279"/>
                  <a:gd name="T20" fmla="*/ 77 w 281"/>
                  <a:gd name="T21" fmla="*/ 242 h 279"/>
                  <a:gd name="T22" fmla="*/ 53 w 281"/>
                  <a:gd name="T23" fmla="*/ 246 h 279"/>
                  <a:gd name="T24" fmla="*/ 7 w 281"/>
                  <a:gd name="T25" fmla="*/ 257 h 279"/>
                  <a:gd name="T26" fmla="*/ 3 w 281"/>
                  <a:gd name="T27" fmla="*/ 272 h 279"/>
                  <a:gd name="T28" fmla="*/ 18 w 281"/>
                  <a:gd name="T29" fmla="*/ 276 h 279"/>
                  <a:gd name="T30" fmla="*/ 56 w 281"/>
                  <a:gd name="T31" fmla="*/ 267 h 279"/>
                  <a:gd name="T32" fmla="*/ 87 w 281"/>
                  <a:gd name="T33" fmla="*/ 261 h 279"/>
                  <a:gd name="T34" fmla="*/ 113 w 281"/>
                  <a:gd name="T35" fmla="*/ 219 h 279"/>
                  <a:gd name="T36" fmla="*/ 112 w 281"/>
                  <a:gd name="T37" fmla="*/ 182 h 279"/>
                  <a:gd name="T38" fmla="*/ 85 w 281"/>
                  <a:gd name="T39" fmla="*/ 120 h 279"/>
                  <a:gd name="T40" fmla="*/ 80 w 281"/>
                  <a:gd name="T41" fmla="*/ 63 h 279"/>
                  <a:gd name="T42" fmla="*/ 125 w 281"/>
                  <a:gd name="T43" fmla="*/ 79 h 279"/>
                  <a:gd name="T44" fmla="*/ 155 w 281"/>
                  <a:gd name="T45" fmla="*/ 74 h 279"/>
                  <a:gd name="T46" fmla="*/ 159 w 281"/>
                  <a:gd name="T47" fmla="*/ 71 h 279"/>
                  <a:gd name="T48" fmla="*/ 162 w 281"/>
                  <a:gd name="T49" fmla="*/ 68 h 279"/>
                  <a:gd name="T50" fmla="*/ 165 w 281"/>
                  <a:gd name="T51" fmla="*/ 71 h 279"/>
                  <a:gd name="T52" fmla="*/ 172 w 281"/>
                  <a:gd name="T53" fmla="*/ 74 h 279"/>
                  <a:gd name="T54" fmla="*/ 201 w 281"/>
                  <a:gd name="T55" fmla="*/ 63 h 279"/>
                  <a:gd name="T56" fmla="*/ 196 w 281"/>
                  <a:gd name="T57" fmla="*/ 120 h 279"/>
                  <a:gd name="T58" fmla="*/ 170 w 281"/>
                  <a:gd name="T59" fmla="*/ 182 h 279"/>
                  <a:gd name="T60" fmla="*/ 169 w 281"/>
                  <a:gd name="T61" fmla="*/ 219 h 279"/>
                  <a:gd name="T62" fmla="*/ 194 w 281"/>
                  <a:gd name="T63" fmla="*/ 261 h 279"/>
                  <a:gd name="T64" fmla="*/ 226 w 281"/>
                  <a:gd name="T65" fmla="*/ 267 h 279"/>
                  <a:gd name="T66" fmla="*/ 263 w 281"/>
                  <a:gd name="T67" fmla="*/ 276 h 279"/>
                  <a:gd name="T68" fmla="*/ 269 w 281"/>
                  <a:gd name="T69" fmla="*/ 277 h 279"/>
                  <a:gd name="T70" fmla="*/ 278 w 281"/>
                  <a:gd name="T71" fmla="*/ 272 h 279"/>
                  <a:gd name="T72" fmla="*/ 274 w 281"/>
                  <a:gd name="T73" fmla="*/ 257 h 279"/>
                  <a:gd name="T74" fmla="*/ 177 w 281"/>
                  <a:gd name="T75" fmla="*/ 53 h 279"/>
                  <a:gd name="T76" fmla="*/ 170 w 281"/>
                  <a:gd name="T77" fmla="*/ 45 h 279"/>
                  <a:gd name="T78" fmla="*/ 154 w 281"/>
                  <a:gd name="T79" fmla="*/ 45 h 279"/>
                  <a:gd name="T80" fmla="*/ 146 w 281"/>
                  <a:gd name="T81" fmla="*/ 54 h 279"/>
                  <a:gd name="T82" fmla="*/ 89 w 281"/>
                  <a:gd name="T83" fmla="*/ 41 h 279"/>
                  <a:gd name="T84" fmla="*/ 89 w 281"/>
                  <a:gd name="T85" fmla="*/ 41 h 279"/>
                  <a:gd name="T86" fmla="*/ 141 w 281"/>
                  <a:gd name="T87" fmla="*/ 21 h 279"/>
                  <a:gd name="T88" fmla="*/ 192 w 281"/>
                  <a:gd name="T89" fmla="*/ 41 h 279"/>
                  <a:gd name="T90" fmla="*/ 193 w 281"/>
                  <a:gd name="T91" fmla="*/ 41 h 279"/>
                  <a:gd name="T92" fmla="*/ 177 w 281"/>
                  <a:gd name="T93" fmla="*/ 5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81" h="279">
                    <a:moveTo>
                      <a:pt x="274" y="257"/>
                    </a:moveTo>
                    <a:cubicBezTo>
                      <a:pt x="260" y="249"/>
                      <a:pt x="243" y="248"/>
                      <a:pt x="228" y="246"/>
                    </a:cubicBezTo>
                    <a:cubicBezTo>
                      <a:pt x="218" y="245"/>
                      <a:pt x="208" y="244"/>
                      <a:pt x="204" y="242"/>
                    </a:cubicBezTo>
                    <a:cubicBezTo>
                      <a:pt x="193" y="236"/>
                      <a:pt x="184" y="201"/>
                      <a:pt x="187" y="194"/>
                    </a:cubicBezTo>
                    <a:cubicBezTo>
                      <a:pt x="200" y="176"/>
                      <a:pt x="212" y="144"/>
                      <a:pt x="217" y="126"/>
                    </a:cubicBezTo>
                    <a:cubicBezTo>
                      <a:pt x="223" y="102"/>
                      <a:pt x="232" y="58"/>
                      <a:pt x="209" y="28"/>
                    </a:cubicBezTo>
                    <a:cubicBezTo>
                      <a:pt x="195" y="9"/>
                      <a:pt x="172" y="0"/>
                      <a:pt x="141" y="0"/>
                    </a:cubicBezTo>
                    <a:cubicBezTo>
                      <a:pt x="109" y="0"/>
                      <a:pt x="86" y="9"/>
                      <a:pt x="72" y="28"/>
                    </a:cubicBezTo>
                    <a:cubicBezTo>
                      <a:pt x="50" y="58"/>
                      <a:pt x="58" y="102"/>
                      <a:pt x="65" y="126"/>
                    </a:cubicBezTo>
                    <a:cubicBezTo>
                      <a:pt x="70" y="144"/>
                      <a:pt x="82" y="176"/>
                      <a:pt x="94" y="193"/>
                    </a:cubicBezTo>
                    <a:cubicBezTo>
                      <a:pt x="97" y="201"/>
                      <a:pt x="88" y="236"/>
                      <a:pt x="77" y="242"/>
                    </a:cubicBezTo>
                    <a:cubicBezTo>
                      <a:pt x="73" y="244"/>
                      <a:pt x="63" y="245"/>
                      <a:pt x="53" y="246"/>
                    </a:cubicBezTo>
                    <a:cubicBezTo>
                      <a:pt x="38" y="248"/>
                      <a:pt x="21" y="249"/>
                      <a:pt x="7" y="257"/>
                    </a:cubicBezTo>
                    <a:cubicBezTo>
                      <a:pt x="2" y="260"/>
                      <a:pt x="0" y="266"/>
                      <a:pt x="3" y="272"/>
                    </a:cubicBezTo>
                    <a:cubicBezTo>
                      <a:pt x="6" y="277"/>
                      <a:pt x="13" y="279"/>
                      <a:pt x="18" y="276"/>
                    </a:cubicBezTo>
                    <a:cubicBezTo>
                      <a:pt x="28" y="270"/>
                      <a:pt x="43" y="269"/>
                      <a:pt x="56" y="267"/>
                    </a:cubicBezTo>
                    <a:cubicBezTo>
                      <a:pt x="68" y="266"/>
                      <a:pt x="79" y="265"/>
                      <a:pt x="87" y="261"/>
                    </a:cubicBezTo>
                    <a:cubicBezTo>
                      <a:pt x="103" y="252"/>
                      <a:pt x="110" y="229"/>
                      <a:pt x="113" y="219"/>
                    </a:cubicBezTo>
                    <a:cubicBezTo>
                      <a:pt x="115" y="210"/>
                      <a:pt x="118" y="192"/>
                      <a:pt x="112" y="182"/>
                    </a:cubicBezTo>
                    <a:cubicBezTo>
                      <a:pt x="101" y="167"/>
                      <a:pt x="90" y="137"/>
                      <a:pt x="85" y="120"/>
                    </a:cubicBezTo>
                    <a:cubicBezTo>
                      <a:pt x="82" y="109"/>
                      <a:pt x="76" y="84"/>
                      <a:pt x="80" y="63"/>
                    </a:cubicBezTo>
                    <a:cubicBezTo>
                      <a:pt x="94" y="75"/>
                      <a:pt x="110" y="79"/>
                      <a:pt x="125" y="79"/>
                    </a:cubicBezTo>
                    <a:cubicBezTo>
                      <a:pt x="137" y="79"/>
                      <a:pt x="148" y="76"/>
                      <a:pt x="155" y="74"/>
                    </a:cubicBezTo>
                    <a:cubicBezTo>
                      <a:pt x="156" y="73"/>
                      <a:pt x="158" y="72"/>
                      <a:pt x="159" y="71"/>
                    </a:cubicBezTo>
                    <a:cubicBezTo>
                      <a:pt x="162" y="68"/>
                      <a:pt x="162" y="68"/>
                      <a:pt x="162" y="68"/>
                    </a:cubicBezTo>
                    <a:cubicBezTo>
                      <a:pt x="165" y="71"/>
                      <a:pt x="165" y="71"/>
                      <a:pt x="165" y="71"/>
                    </a:cubicBezTo>
                    <a:cubicBezTo>
                      <a:pt x="167" y="73"/>
                      <a:pt x="169" y="74"/>
                      <a:pt x="172" y="74"/>
                    </a:cubicBezTo>
                    <a:cubicBezTo>
                      <a:pt x="173" y="74"/>
                      <a:pt x="187" y="75"/>
                      <a:pt x="201" y="63"/>
                    </a:cubicBezTo>
                    <a:cubicBezTo>
                      <a:pt x="205" y="84"/>
                      <a:pt x="199" y="109"/>
                      <a:pt x="196" y="120"/>
                    </a:cubicBezTo>
                    <a:cubicBezTo>
                      <a:pt x="191" y="137"/>
                      <a:pt x="180" y="167"/>
                      <a:pt x="170" y="182"/>
                    </a:cubicBezTo>
                    <a:cubicBezTo>
                      <a:pt x="163" y="192"/>
                      <a:pt x="166" y="210"/>
                      <a:pt x="169" y="219"/>
                    </a:cubicBezTo>
                    <a:cubicBezTo>
                      <a:pt x="171" y="229"/>
                      <a:pt x="178" y="252"/>
                      <a:pt x="194" y="261"/>
                    </a:cubicBezTo>
                    <a:cubicBezTo>
                      <a:pt x="202" y="265"/>
                      <a:pt x="213" y="266"/>
                      <a:pt x="226" y="267"/>
                    </a:cubicBezTo>
                    <a:cubicBezTo>
                      <a:pt x="239" y="269"/>
                      <a:pt x="254" y="270"/>
                      <a:pt x="263" y="276"/>
                    </a:cubicBezTo>
                    <a:cubicBezTo>
                      <a:pt x="265" y="277"/>
                      <a:pt x="267" y="277"/>
                      <a:pt x="269" y="277"/>
                    </a:cubicBezTo>
                    <a:cubicBezTo>
                      <a:pt x="272" y="277"/>
                      <a:pt x="276" y="275"/>
                      <a:pt x="278" y="272"/>
                    </a:cubicBezTo>
                    <a:cubicBezTo>
                      <a:pt x="281" y="266"/>
                      <a:pt x="279" y="260"/>
                      <a:pt x="274" y="257"/>
                    </a:cubicBezTo>
                    <a:close/>
                    <a:moveTo>
                      <a:pt x="177" y="53"/>
                    </a:moveTo>
                    <a:cubicBezTo>
                      <a:pt x="170" y="45"/>
                      <a:pt x="170" y="45"/>
                      <a:pt x="170" y="45"/>
                    </a:cubicBezTo>
                    <a:cubicBezTo>
                      <a:pt x="165" y="41"/>
                      <a:pt x="159" y="41"/>
                      <a:pt x="154" y="45"/>
                    </a:cubicBezTo>
                    <a:cubicBezTo>
                      <a:pt x="146" y="54"/>
                      <a:pt x="146" y="54"/>
                      <a:pt x="146" y="54"/>
                    </a:cubicBezTo>
                    <a:cubicBezTo>
                      <a:pt x="137" y="57"/>
                      <a:pt x="106" y="64"/>
                      <a:pt x="89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9" y="28"/>
                      <a:pt x="116" y="21"/>
                      <a:pt x="141" y="21"/>
                    </a:cubicBezTo>
                    <a:cubicBezTo>
                      <a:pt x="165" y="21"/>
                      <a:pt x="182" y="28"/>
                      <a:pt x="192" y="41"/>
                    </a:cubicBezTo>
                    <a:cubicBezTo>
                      <a:pt x="192" y="41"/>
                      <a:pt x="192" y="41"/>
                      <a:pt x="193" y="41"/>
                    </a:cubicBezTo>
                    <a:cubicBezTo>
                      <a:pt x="187" y="49"/>
                      <a:pt x="180" y="52"/>
                      <a:pt x="177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88" name="Freeform 7">
              <a:extLst>
                <a:ext uri="{FF2B5EF4-FFF2-40B4-BE49-F238E27FC236}">
                  <a16:creationId xmlns:a16="http://schemas.microsoft.com/office/drawing/2014/main" id="{AA93CD0F-BF80-4AB5-802F-A91C790FF57E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1345004" y="5323626"/>
              <a:ext cx="1271467" cy="545982"/>
            </a:xfrm>
            <a:custGeom>
              <a:avLst/>
              <a:gdLst>
                <a:gd name="T0" fmla="*/ 0 w 1398"/>
                <a:gd name="T1" fmla="*/ 981075 h 618"/>
                <a:gd name="T2" fmla="*/ 555625 w 1398"/>
                <a:gd name="T3" fmla="*/ 0 h 618"/>
                <a:gd name="T4" fmla="*/ 1662113 w 1398"/>
                <a:gd name="T5" fmla="*/ 0 h 618"/>
                <a:gd name="T6" fmla="*/ 2219325 w 1398"/>
                <a:gd name="T7" fmla="*/ 981075 h 618"/>
                <a:gd name="T8" fmla="*/ 0 w 1398"/>
                <a:gd name="T9" fmla="*/ 981075 h 6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98"/>
                <a:gd name="T16" fmla="*/ 0 h 618"/>
                <a:gd name="T17" fmla="*/ 1398 w 1398"/>
                <a:gd name="T18" fmla="*/ 618 h 6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98" h="618">
                  <a:moveTo>
                    <a:pt x="0" y="618"/>
                  </a:moveTo>
                  <a:lnTo>
                    <a:pt x="350" y="0"/>
                  </a:lnTo>
                  <a:lnTo>
                    <a:pt x="1047" y="0"/>
                  </a:lnTo>
                  <a:lnTo>
                    <a:pt x="1398" y="618"/>
                  </a:lnTo>
                  <a:lnTo>
                    <a:pt x="0" y="618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 eaLnBrk="0" hangingPunct="0"/>
              <a:endParaRPr lang="en-US" sz="1200" dirty="0"/>
            </a:p>
          </p:txBody>
        </p:sp>
        <p:sp>
          <p:nvSpPr>
            <p:cNvPr id="91" name="Freeform 7">
              <a:extLst>
                <a:ext uri="{FF2B5EF4-FFF2-40B4-BE49-F238E27FC236}">
                  <a16:creationId xmlns:a16="http://schemas.microsoft.com/office/drawing/2014/main" id="{A7ADB5AC-0E4A-4AB7-90C4-F51CFC546C03}"/>
                </a:ext>
              </a:extLst>
            </p:cNvPr>
            <p:cNvSpPr>
              <a:spLocks/>
            </p:cNvSpPr>
            <p:nvPr/>
          </p:nvSpPr>
          <p:spPr bwMode="gray">
            <a:xfrm rot="5400000" flipV="1">
              <a:off x="2988048" y="5323958"/>
              <a:ext cx="1271467" cy="545982"/>
            </a:xfrm>
            <a:custGeom>
              <a:avLst/>
              <a:gdLst>
                <a:gd name="T0" fmla="*/ 0 w 1398"/>
                <a:gd name="T1" fmla="*/ 981075 h 618"/>
                <a:gd name="T2" fmla="*/ 555625 w 1398"/>
                <a:gd name="T3" fmla="*/ 0 h 618"/>
                <a:gd name="T4" fmla="*/ 1662113 w 1398"/>
                <a:gd name="T5" fmla="*/ 0 h 618"/>
                <a:gd name="T6" fmla="*/ 2219325 w 1398"/>
                <a:gd name="T7" fmla="*/ 981075 h 618"/>
                <a:gd name="T8" fmla="*/ 0 w 1398"/>
                <a:gd name="T9" fmla="*/ 981075 h 6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98"/>
                <a:gd name="T16" fmla="*/ 0 h 618"/>
                <a:gd name="T17" fmla="*/ 1398 w 1398"/>
                <a:gd name="T18" fmla="*/ 618 h 6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98" h="618">
                  <a:moveTo>
                    <a:pt x="0" y="618"/>
                  </a:moveTo>
                  <a:lnTo>
                    <a:pt x="350" y="0"/>
                  </a:lnTo>
                  <a:lnTo>
                    <a:pt x="1047" y="0"/>
                  </a:lnTo>
                  <a:lnTo>
                    <a:pt x="1398" y="618"/>
                  </a:lnTo>
                  <a:lnTo>
                    <a:pt x="0" y="618"/>
                  </a:lnTo>
                  <a:close/>
                </a:path>
              </a:pathLst>
            </a:custGeom>
            <a:solidFill>
              <a:srgbClr val="86BC25"/>
            </a:solidFill>
            <a:ln w="12700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 eaLnBrk="0" hangingPunct="0"/>
              <a:endParaRPr lang="en-US" sz="1200" dirty="0"/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075736E3-D92C-4E66-BF44-E0D10314921A}"/>
                </a:ext>
              </a:extLst>
            </p:cNvPr>
            <p:cNvSpPr txBox="1"/>
            <p:nvPr/>
          </p:nvSpPr>
          <p:spPr>
            <a:xfrm>
              <a:off x="3443250" y="5518786"/>
              <a:ext cx="350758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400" b="1" dirty="0"/>
                <a:t>B</a:t>
              </a:r>
            </a:p>
          </p:txBody>
        </p:sp>
        <p:sp>
          <p:nvSpPr>
            <p:cNvPr id="114" name="Freeform 747">
              <a:extLst>
                <a:ext uri="{FF2B5EF4-FFF2-40B4-BE49-F238E27FC236}">
                  <a16:creationId xmlns:a16="http://schemas.microsoft.com/office/drawing/2014/main" id="{506F831C-4A00-48B5-A76F-E46C4C61647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308112" y="5224707"/>
              <a:ext cx="744477" cy="744477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6" name="Freeform 142">
              <a:extLst>
                <a:ext uri="{FF2B5EF4-FFF2-40B4-BE49-F238E27FC236}">
                  <a16:creationId xmlns:a16="http://schemas.microsoft.com/office/drawing/2014/main" id="{4810621B-5309-41A4-9C5B-8A73E696E866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4064008" y="5482170"/>
              <a:ext cx="139682" cy="229554"/>
            </a:xfrm>
            <a:custGeom>
              <a:avLst/>
              <a:gdLst>
                <a:gd name="T0" fmla="*/ 190 w 194"/>
                <a:gd name="T1" fmla="*/ 216 h 320"/>
                <a:gd name="T2" fmla="*/ 174 w 194"/>
                <a:gd name="T3" fmla="*/ 216 h 320"/>
                <a:gd name="T4" fmla="*/ 107 w 194"/>
                <a:gd name="T5" fmla="*/ 283 h 320"/>
                <a:gd name="T6" fmla="*/ 107 w 194"/>
                <a:gd name="T7" fmla="*/ 10 h 320"/>
                <a:gd name="T8" fmla="*/ 97 w 194"/>
                <a:gd name="T9" fmla="*/ 0 h 320"/>
                <a:gd name="T10" fmla="*/ 86 w 194"/>
                <a:gd name="T11" fmla="*/ 10 h 320"/>
                <a:gd name="T12" fmla="*/ 86 w 194"/>
                <a:gd name="T13" fmla="*/ 283 h 320"/>
                <a:gd name="T14" fmla="*/ 19 w 194"/>
                <a:gd name="T15" fmla="*/ 216 h 320"/>
                <a:gd name="T16" fmla="*/ 4 w 194"/>
                <a:gd name="T17" fmla="*/ 216 h 320"/>
                <a:gd name="T18" fmla="*/ 4 w 194"/>
                <a:gd name="T19" fmla="*/ 231 h 320"/>
                <a:gd name="T20" fmla="*/ 89 w 194"/>
                <a:gd name="T21" fmla="*/ 317 h 320"/>
                <a:gd name="T22" fmla="*/ 93 w 194"/>
                <a:gd name="T23" fmla="*/ 319 h 320"/>
                <a:gd name="T24" fmla="*/ 97 w 194"/>
                <a:gd name="T25" fmla="*/ 320 h 320"/>
                <a:gd name="T26" fmla="*/ 101 w 194"/>
                <a:gd name="T27" fmla="*/ 319 h 320"/>
                <a:gd name="T28" fmla="*/ 104 w 194"/>
                <a:gd name="T29" fmla="*/ 317 h 320"/>
                <a:gd name="T30" fmla="*/ 190 w 194"/>
                <a:gd name="T31" fmla="*/ 231 h 320"/>
                <a:gd name="T32" fmla="*/ 190 w 194"/>
                <a:gd name="T33" fmla="*/ 21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4" h="320">
                  <a:moveTo>
                    <a:pt x="190" y="216"/>
                  </a:moveTo>
                  <a:cubicBezTo>
                    <a:pt x="185" y="212"/>
                    <a:pt x="179" y="212"/>
                    <a:pt x="174" y="216"/>
                  </a:cubicBezTo>
                  <a:cubicBezTo>
                    <a:pt x="107" y="283"/>
                    <a:pt x="107" y="283"/>
                    <a:pt x="107" y="283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4"/>
                    <a:pt x="103" y="0"/>
                    <a:pt x="97" y="0"/>
                  </a:cubicBezTo>
                  <a:cubicBezTo>
                    <a:pt x="91" y="0"/>
                    <a:pt x="86" y="4"/>
                    <a:pt x="86" y="10"/>
                  </a:cubicBezTo>
                  <a:cubicBezTo>
                    <a:pt x="86" y="283"/>
                    <a:pt x="86" y="283"/>
                    <a:pt x="86" y="283"/>
                  </a:cubicBezTo>
                  <a:cubicBezTo>
                    <a:pt x="19" y="216"/>
                    <a:pt x="19" y="216"/>
                    <a:pt x="19" y="216"/>
                  </a:cubicBezTo>
                  <a:cubicBezTo>
                    <a:pt x="15" y="212"/>
                    <a:pt x="8" y="212"/>
                    <a:pt x="4" y="216"/>
                  </a:cubicBezTo>
                  <a:cubicBezTo>
                    <a:pt x="0" y="220"/>
                    <a:pt x="0" y="227"/>
                    <a:pt x="4" y="231"/>
                  </a:cubicBezTo>
                  <a:cubicBezTo>
                    <a:pt x="89" y="317"/>
                    <a:pt x="89" y="317"/>
                    <a:pt x="89" y="317"/>
                  </a:cubicBezTo>
                  <a:cubicBezTo>
                    <a:pt x="90" y="318"/>
                    <a:pt x="91" y="318"/>
                    <a:pt x="93" y="319"/>
                  </a:cubicBezTo>
                  <a:cubicBezTo>
                    <a:pt x="94" y="319"/>
                    <a:pt x="95" y="320"/>
                    <a:pt x="97" y="320"/>
                  </a:cubicBezTo>
                  <a:cubicBezTo>
                    <a:pt x="98" y="320"/>
                    <a:pt x="99" y="319"/>
                    <a:pt x="101" y="319"/>
                  </a:cubicBezTo>
                  <a:cubicBezTo>
                    <a:pt x="102" y="318"/>
                    <a:pt x="103" y="318"/>
                    <a:pt x="104" y="317"/>
                  </a:cubicBezTo>
                  <a:cubicBezTo>
                    <a:pt x="190" y="231"/>
                    <a:pt x="190" y="231"/>
                    <a:pt x="190" y="231"/>
                  </a:cubicBezTo>
                  <a:cubicBezTo>
                    <a:pt x="194" y="227"/>
                    <a:pt x="194" y="220"/>
                    <a:pt x="190" y="216"/>
                  </a:cubicBezTo>
                  <a:close/>
                </a:path>
              </a:pathLst>
            </a:custGeom>
            <a:solidFill>
              <a:schemeClr val="accent2"/>
            </a:solidFill>
            <a:ln>
              <a:solidFill>
                <a:srgbClr val="046A38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7" name="Freeform 142">
              <a:extLst>
                <a:ext uri="{FF2B5EF4-FFF2-40B4-BE49-F238E27FC236}">
                  <a16:creationId xmlns:a16="http://schemas.microsoft.com/office/drawing/2014/main" id="{A16F266E-6C9B-4F99-B910-D71E0252BD1C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417473" y="5549281"/>
              <a:ext cx="139682" cy="229554"/>
            </a:xfrm>
            <a:custGeom>
              <a:avLst/>
              <a:gdLst>
                <a:gd name="T0" fmla="*/ 190 w 194"/>
                <a:gd name="T1" fmla="*/ 216 h 320"/>
                <a:gd name="T2" fmla="*/ 174 w 194"/>
                <a:gd name="T3" fmla="*/ 216 h 320"/>
                <a:gd name="T4" fmla="*/ 107 w 194"/>
                <a:gd name="T5" fmla="*/ 283 h 320"/>
                <a:gd name="T6" fmla="*/ 107 w 194"/>
                <a:gd name="T7" fmla="*/ 10 h 320"/>
                <a:gd name="T8" fmla="*/ 97 w 194"/>
                <a:gd name="T9" fmla="*/ 0 h 320"/>
                <a:gd name="T10" fmla="*/ 86 w 194"/>
                <a:gd name="T11" fmla="*/ 10 h 320"/>
                <a:gd name="T12" fmla="*/ 86 w 194"/>
                <a:gd name="T13" fmla="*/ 283 h 320"/>
                <a:gd name="T14" fmla="*/ 19 w 194"/>
                <a:gd name="T15" fmla="*/ 216 h 320"/>
                <a:gd name="T16" fmla="*/ 4 w 194"/>
                <a:gd name="T17" fmla="*/ 216 h 320"/>
                <a:gd name="T18" fmla="*/ 4 w 194"/>
                <a:gd name="T19" fmla="*/ 231 h 320"/>
                <a:gd name="T20" fmla="*/ 89 w 194"/>
                <a:gd name="T21" fmla="*/ 317 h 320"/>
                <a:gd name="T22" fmla="*/ 93 w 194"/>
                <a:gd name="T23" fmla="*/ 319 h 320"/>
                <a:gd name="T24" fmla="*/ 97 w 194"/>
                <a:gd name="T25" fmla="*/ 320 h 320"/>
                <a:gd name="T26" fmla="*/ 101 w 194"/>
                <a:gd name="T27" fmla="*/ 319 h 320"/>
                <a:gd name="T28" fmla="*/ 104 w 194"/>
                <a:gd name="T29" fmla="*/ 317 h 320"/>
                <a:gd name="T30" fmla="*/ 190 w 194"/>
                <a:gd name="T31" fmla="*/ 231 h 320"/>
                <a:gd name="T32" fmla="*/ 190 w 194"/>
                <a:gd name="T33" fmla="*/ 21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4" h="320">
                  <a:moveTo>
                    <a:pt x="190" y="216"/>
                  </a:moveTo>
                  <a:cubicBezTo>
                    <a:pt x="185" y="212"/>
                    <a:pt x="179" y="212"/>
                    <a:pt x="174" y="216"/>
                  </a:cubicBezTo>
                  <a:cubicBezTo>
                    <a:pt x="107" y="283"/>
                    <a:pt x="107" y="283"/>
                    <a:pt x="107" y="283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4"/>
                    <a:pt x="103" y="0"/>
                    <a:pt x="97" y="0"/>
                  </a:cubicBezTo>
                  <a:cubicBezTo>
                    <a:pt x="91" y="0"/>
                    <a:pt x="86" y="4"/>
                    <a:pt x="86" y="10"/>
                  </a:cubicBezTo>
                  <a:cubicBezTo>
                    <a:pt x="86" y="283"/>
                    <a:pt x="86" y="283"/>
                    <a:pt x="86" y="283"/>
                  </a:cubicBezTo>
                  <a:cubicBezTo>
                    <a:pt x="19" y="216"/>
                    <a:pt x="19" y="216"/>
                    <a:pt x="19" y="216"/>
                  </a:cubicBezTo>
                  <a:cubicBezTo>
                    <a:pt x="15" y="212"/>
                    <a:pt x="8" y="212"/>
                    <a:pt x="4" y="216"/>
                  </a:cubicBezTo>
                  <a:cubicBezTo>
                    <a:pt x="0" y="220"/>
                    <a:pt x="0" y="227"/>
                    <a:pt x="4" y="231"/>
                  </a:cubicBezTo>
                  <a:cubicBezTo>
                    <a:pt x="89" y="317"/>
                    <a:pt x="89" y="317"/>
                    <a:pt x="89" y="317"/>
                  </a:cubicBezTo>
                  <a:cubicBezTo>
                    <a:pt x="90" y="318"/>
                    <a:pt x="91" y="318"/>
                    <a:pt x="93" y="319"/>
                  </a:cubicBezTo>
                  <a:cubicBezTo>
                    <a:pt x="94" y="319"/>
                    <a:pt x="95" y="320"/>
                    <a:pt x="97" y="320"/>
                  </a:cubicBezTo>
                  <a:cubicBezTo>
                    <a:pt x="98" y="320"/>
                    <a:pt x="99" y="319"/>
                    <a:pt x="101" y="319"/>
                  </a:cubicBezTo>
                  <a:cubicBezTo>
                    <a:pt x="102" y="318"/>
                    <a:pt x="103" y="318"/>
                    <a:pt x="104" y="317"/>
                  </a:cubicBezTo>
                  <a:cubicBezTo>
                    <a:pt x="190" y="231"/>
                    <a:pt x="190" y="231"/>
                    <a:pt x="190" y="231"/>
                  </a:cubicBezTo>
                  <a:cubicBezTo>
                    <a:pt x="194" y="227"/>
                    <a:pt x="194" y="220"/>
                    <a:pt x="190" y="216"/>
                  </a:cubicBezTo>
                  <a:close/>
                </a:path>
              </a:pathLst>
            </a:custGeom>
            <a:solidFill>
              <a:schemeClr val="accent2"/>
            </a:solidFill>
            <a:ln>
              <a:solidFill>
                <a:srgbClr val="046A38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9E9945C9-A320-4DE8-8BDC-EBDD23733977}"/>
                </a:ext>
              </a:extLst>
            </p:cNvPr>
            <p:cNvSpPr txBox="1"/>
            <p:nvPr/>
          </p:nvSpPr>
          <p:spPr>
            <a:xfrm>
              <a:off x="2520461" y="5298141"/>
              <a:ext cx="515417" cy="69249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000" b="1" dirty="0"/>
                <a:t>0101</a:t>
              </a:r>
            </a:p>
            <a:p>
              <a:pPr algn="ctr">
                <a:spcBef>
                  <a:spcPts val="200"/>
                </a:spcBef>
                <a:buSzPct val="100000"/>
              </a:pPr>
              <a:r>
                <a:rPr lang="en-US" sz="1000" b="1" dirty="0"/>
                <a:t>1101</a:t>
              </a:r>
            </a:p>
            <a:p>
              <a:pPr algn="ctr">
                <a:spcBef>
                  <a:spcPts val="200"/>
                </a:spcBef>
                <a:buSzPct val="100000"/>
              </a:pPr>
              <a:r>
                <a:rPr lang="en-US" sz="1000" b="1" dirty="0"/>
                <a:t>1000</a:t>
              </a:r>
            </a:p>
            <a:p>
              <a:pPr algn="ctr">
                <a:spcBef>
                  <a:spcPts val="200"/>
                </a:spcBef>
                <a:buSzPct val="100000"/>
              </a:pPr>
              <a:r>
                <a:rPr lang="en-US" sz="1000" b="1" dirty="0"/>
                <a:t>0011</a:t>
              </a:r>
            </a:p>
          </p:txBody>
        </p:sp>
        <p:sp>
          <p:nvSpPr>
            <p:cNvPr id="81" name="Freeform 142">
              <a:extLst>
                <a:ext uri="{FF2B5EF4-FFF2-40B4-BE49-F238E27FC236}">
                  <a16:creationId xmlns:a16="http://schemas.microsoft.com/office/drawing/2014/main" id="{316ECD48-C23F-448D-ACC1-4B5FE17D948F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2342426" y="5558583"/>
              <a:ext cx="139682" cy="229554"/>
            </a:xfrm>
            <a:custGeom>
              <a:avLst/>
              <a:gdLst>
                <a:gd name="T0" fmla="*/ 190 w 194"/>
                <a:gd name="T1" fmla="*/ 216 h 320"/>
                <a:gd name="T2" fmla="*/ 174 w 194"/>
                <a:gd name="T3" fmla="*/ 216 h 320"/>
                <a:gd name="T4" fmla="*/ 107 w 194"/>
                <a:gd name="T5" fmla="*/ 283 h 320"/>
                <a:gd name="T6" fmla="*/ 107 w 194"/>
                <a:gd name="T7" fmla="*/ 10 h 320"/>
                <a:gd name="T8" fmla="*/ 97 w 194"/>
                <a:gd name="T9" fmla="*/ 0 h 320"/>
                <a:gd name="T10" fmla="*/ 86 w 194"/>
                <a:gd name="T11" fmla="*/ 10 h 320"/>
                <a:gd name="T12" fmla="*/ 86 w 194"/>
                <a:gd name="T13" fmla="*/ 283 h 320"/>
                <a:gd name="T14" fmla="*/ 19 w 194"/>
                <a:gd name="T15" fmla="*/ 216 h 320"/>
                <a:gd name="T16" fmla="*/ 4 w 194"/>
                <a:gd name="T17" fmla="*/ 216 h 320"/>
                <a:gd name="T18" fmla="*/ 4 w 194"/>
                <a:gd name="T19" fmla="*/ 231 h 320"/>
                <a:gd name="T20" fmla="*/ 89 w 194"/>
                <a:gd name="T21" fmla="*/ 317 h 320"/>
                <a:gd name="T22" fmla="*/ 93 w 194"/>
                <a:gd name="T23" fmla="*/ 319 h 320"/>
                <a:gd name="T24" fmla="*/ 97 w 194"/>
                <a:gd name="T25" fmla="*/ 320 h 320"/>
                <a:gd name="T26" fmla="*/ 101 w 194"/>
                <a:gd name="T27" fmla="*/ 319 h 320"/>
                <a:gd name="T28" fmla="*/ 104 w 194"/>
                <a:gd name="T29" fmla="*/ 317 h 320"/>
                <a:gd name="T30" fmla="*/ 190 w 194"/>
                <a:gd name="T31" fmla="*/ 231 h 320"/>
                <a:gd name="T32" fmla="*/ 190 w 194"/>
                <a:gd name="T33" fmla="*/ 21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4" h="320">
                  <a:moveTo>
                    <a:pt x="190" y="216"/>
                  </a:moveTo>
                  <a:cubicBezTo>
                    <a:pt x="185" y="212"/>
                    <a:pt x="179" y="212"/>
                    <a:pt x="174" y="216"/>
                  </a:cubicBezTo>
                  <a:cubicBezTo>
                    <a:pt x="107" y="283"/>
                    <a:pt x="107" y="283"/>
                    <a:pt x="107" y="283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4"/>
                    <a:pt x="103" y="0"/>
                    <a:pt x="97" y="0"/>
                  </a:cubicBezTo>
                  <a:cubicBezTo>
                    <a:pt x="91" y="0"/>
                    <a:pt x="86" y="4"/>
                    <a:pt x="86" y="10"/>
                  </a:cubicBezTo>
                  <a:cubicBezTo>
                    <a:pt x="86" y="283"/>
                    <a:pt x="86" y="283"/>
                    <a:pt x="86" y="283"/>
                  </a:cubicBezTo>
                  <a:cubicBezTo>
                    <a:pt x="19" y="216"/>
                    <a:pt x="19" y="216"/>
                    <a:pt x="19" y="216"/>
                  </a:cubicBezTo>
                  <a:cubicBezTo>
                    <a:pt x="15" y="212"/>
                    <a:pt x="8" y="212"/>
                    <a:pt x="4" y="216"/>
                  </a:cubicBezTo>
                  <a:cubicBezTo>
                    <a:pt x="0" y="220"/>
                    <a:pt x="0" y="227"/>
                    <a:pt x="4" y="231"/>
                  </a:cubicBezTo>
                  <a:cubicBezTo>
                    <a:pt x="89" y="317"/>
                    <a:pt x="89" y="317"/>
                    <a:pt x="89" y="317"/>
                  </a:cubicBezTo>
                  <a:cubicBezTo>
                    <a:pt x="90" y="318"/>
                    <a:pt x="91" y="318"/>
                    <a:pt x="93" y="319"/>
                  </a:cubicBezTo>
                  <a:cubicBezTo>
                    <a:pt x="94" y="319"/>
                    <a:pt x="95" y="320"/>
                    <a:pt x="97" y="320"/>
                  </a:cubicBezTo>
                  <a:cubicBezTo>
                    <a:pt x="98" y="320"/>
                    <a:pt x="99" y="319"/>
                    <a:pt x="101" y="319"/>
                  </a:cubicBezTo>
                  <a:cubicBezTo>
                    <a:pt x="102" y="318"/>
                    <a:pt x="103" y="318"/>
                    <a:pt x="104" y="317"/>
                  </a:cubicBezTo>
                  <a:cubicBezTo>
                    <a:pt x="190" y="231"/>
                    <a:pt x="190" y="231"/>
                    <a:pt x="190" y="231"/>
                  </a:cubicBezTo>
                  <a:cubicBezTo>
                    <a:pt x="194" y="227"/>
                    <a:pt x="194" y="220"/>
                    <a:pt x="190" y="216"/>
                  </a:cubicBezTo>
                  <a:close/>
                </a:path>
              </a:pathLst>
            </a:custGeom>
            <a:solidFill>
              <a:schemeClr val="accent2"/>
            </a:solidFill>
            <a:ln>
              <a:solidFill>
                <a:srgbClr val="046A38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8" name="Freeform 142">
              <a:extLst>
                <a:ext uri="{FF2B5EF4-FFF2-40B4-BE49-F238E27FC236}">
                  <a16:creationId xmlns:a16="http://schemas.microsoft.com/office/drawing/2014/main" id="{B7020BFB-AEBA-417A-BF3F-5B3AC9278C21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078605" y="5549281"/>
              <a:ext cx="139682" cy="229554"/>
            </a:xfrm>
            <a:custGeom>
              <a:avLst/>
              <a:gdLst>
                <a:gd name="T0" fmla="*/ 190 w 194"/>
                <a:gd name="T1" fmla="*/ 216 h 320"/>
                <a:gd name="T2" fmla="*/ 174 w 194"/>
                <a:gd name="T3" fmla="*/ 216 h 320"/>
                <a:gd name="T4" fmla="*/ 107 w 194"/>
                <a:gd name="T5" fmla="*/ 283 h 320"/>
                <a:gd name="T6" fmla="*/ 107 w 194"/>
                <a:gd name="T7" fmla="*/ 10 h 320"/>
                <a:gd name="T8" fmla="*/ 97 w 194"/>
                <a:gd name="T9" fmla="*/ 0 h 320"/>
                <a:gd name="T10" fmla="*/ 86 w 194"/>
                <a:gd name="T11" fmla="*/ 10 h 320"/>
                <a:gd name="T12" fmla="*/ 86 w 194"/>
                <a:gd name="T13" fmla="*/ 283 h 320"/>
                <a:gd name="T14" fmla="*/ 19 w 194"/>
                <a:gd name="T15" fmla="*/ 216 h 320"/>
                <a:gd name="T16" fmla="*/ 4 w 194"/>
                <a:gd name="T17" fmla="*/ 216 h 320"/>
                <a:gd name="T18" fmla="*/ 4 w 194"/>
                <a:gd name="T19" fmla="*/ 231 h 320"/>
                <a:gd name="T20" fmla="*/ 89 w 194"/>
                <a:gd name="T21" fmla="*/ 317 h 320"/>
                <a:gd name="T22" fmla="*/ 93 w 194"/>
                <a:gd name="T23" fmla="*/ 319 h 320"/>
                <a:gd name="T24" fmla="*/ 97 w 194"/>
                <a:gd name="T25" fmla="*/ 320 h 320"/>
                <a:gd name="T26" fmla="*/ 101 w 194"/>
                <a:gd name="T27" fmla="*/ 319 h 320"/>
                <a:gd name="T28" fmla="*/ 104 w 194"/>
                <a:gd name="T29" fmla="*/ 317 h 320"/>
                <a:gd name="T30" fmla="*/ 190 w 194"/>
                <a:gd name="T31" fmla="*/ 231 h 320"/>
                <a:gd name="T32" fmla="*/ 190 w 194"/>
                <a:gd name="T33" fmla="*/ 21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4" h="320">
                  <a:moveTo>
                    <a:pt x="190" y="216"/>
                  </a:moveTo>
                  <a:cubicBezTo>
                    <a:pt x="185" y="212"/>
                    <a:pt x="179" y="212"/>
                    <a:pt x="174" y="216"/>
                  </a:cubicBezTo>
                  <a:cubicBezTo>
                    <a:pt x="107" y="283"/>
                    <a:pt x="107" y="283"/>
                    <a:pt x="107" y="283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4"/>
                    <a:pt x="103" y="0"/>
                    <a:pt x="97" y="0"/>
                  </a:cubicBezTo>
                  <a:cubicBezTo>
                    <a:pt x="91" y="0"/>
                    <a:pt x="86" y="4"/>
                    <a:pt x="86" y="10"/>
                  </a:cubicBezTo>
                  <a:cubicBezTo>
                    <a:pt x="86" y="283"/>
                    <a:pt x="86" y="283"/>
                    <a:pt x="86" y="283"/>
                  </a:cubicBezTo>
                  <a:cubicBezTo>
                    <a:pt x="19" y="216"/>
                    <a:pt x="19" y="216"/>
                    <a:pt x="19" y="216"/>
                  </a:cubicBezTo>
                  <a:cubicBezTo>
                    <a:pt x="15" y="212"/>
                    <a:pt x="8" y="212"/>
                    <a:pt x="4" y="216"/>
                  </a:cubicBezTo>
                  <a:cubicBezTo>
                    <a:pt x="0" y="220"/>
                    <a:pt x="0" y="227"/>
                    <a:pt x="4" y="231"/>
                  </a:cubicBezTo>
                  <a:cubicBezTo>
                    <a:pt x="89" y="317"/>
                    <a:pt x="89" y="317"/>
                    <a:pt x="89" y="317"/>
                  </a:cubicBezTo>
                  <a:cubicBezTo>
                    <a:pt x="90" y="318"/>
                    <a:pt x="91" y="318"/>
                    <a:pt x="93" y="319"/>
                  </a:cubicBezTo>
                  <a:cubicBezTo>
                    <a:pt x="94" y="319"/>
                    <a:pt x="95" y="320"/>
                    <a:pt x="97" y="320"/>
                  </a:cubicBezTo>
                  <a:cubicBezTo>
                    <a:pt x="98" y="320"/>
                    <a:pt x="99" y="319"/>
                    <a:pt x="101" y="319"/>
                  </a:cubicBezTo>
                  <a:cubicBezTo>
                    <a:pt x="102" y="318"/>
                    <a:pt x="103" y="318"/>
                    <a:pt x="104" y="317"/>
                  </a:cubicBezTo>
                  <a:cubicBezTo>
                    <a:pt x="190" y="231"/>
                    <a:pt x="190" y="231"/>
                    <a:pt x="190" y="231"/>
                  </a:cubicBezTo>
                  <a:cubicBezTo>
                    <a:pt x="194" y="227"/>
                    <a:pt x="194" y="220"/>
                    <a:pt x="190" y="216"/>
                  </a:cubicBezTo>
                  <a:close/>
                </a:path>
              </a:pathLst>
            </a:custGeom>
            <a:solidFill>
              <a:schemeClr val="accent2"/>
            </a:solidFill>
            <a:ln>
              <a:solidFill>
                <a:srgbClr val="046A38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F710296-6D3E-4F68-B506-DCE45CE0245B}"/>
              </a:ext>
            </a:extLst>
          </p:cNvPr>
          <p:cNvGrpSpPr/>
          <p:nvPr/>
        </p:nvGrpSpPr>
        <p:grpSpPr>
          <a:xfrm>
            <a:off x="551930" y="3344324"/>
            <a:ext cx="4500659" cy="1295392"/>
            <a:chOff x="551930" y="3344324"/>
            <a:chExt cx="4500659" cy="1295392"/>
          </a:xfrm>
        </p:grpSpPr>
        <p:sp>
          <p:nvSpPr>
            <p:cNvPr id="65" name="Freeform 747">
              <a:extLst>
                <a:ext uri="{FF2B5EF4-FFF2-40B4-BE49-F238E27FC236}">
                  <a16:creationId xmlns:a16="http://schemas.microsoft.com/office/drawing/2014/main" id="{DA2F0A56-136C-4331-B1A6-940FEE302DC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51930" y="3619615"/>
              <a:ext cx="744477" cy="744477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" name="Freeform 747">
              <a:extLst>
                <a:ext uri="{FF2B5EF4-FFF2-40B4-BE49-F238E27FC236}">
                  <a16:creationId xmlns:a16="http://schemas.microsoft.com/office/drawing/2014/main" id="{6F9CD7A5-6A89-4C78-BAA2-9B31714B2D3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308112" y="3619946"/>
              <a:ext cx="744477" cy="744477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9" name="Freeform 7">
              <a:extLst>
                <a:ext uri="{FF2B5EF4-FFF2-40B4-BE49-F238E27FC236}">
                  <a16:creationId xmlns:a16="http://schemas.microsoft.com/office/drawing/2014/main" id="{8A9ED98A-C4D0-43F4-85BD-64276F20CCEE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1345004" y="3707067"/>
              <a:ext cx="1271467" cy="545982"/>
            </a:xfrm>
            <a:custGeom>
              <a:avLst/>
              <a:gdLst>
                <a:gd name="T0" fmla="*/ 0 w 1398"/>
                <a:gd name="T1" fmla="*/ 981075 h 618"/>
                <a:gd name="T2" fmla="*/ 555625 w 1398"/>
                <a:gd name="T3" fmla="*/ 0 h 618"/>
                <a:gd name="T4" fmla="*/ 1662113 w 1398"/>
                <a:gd name="T5" fmla="*/ 0 h 618"/>
                <a:gd name="T6" fmla="*/ 2219325 w 1398"/>
                <a:gd name="T7" fmla="*/ 981075 h 618"/>
                <a:gd name="T8" fmla="*/ 0 w 1398"/>
                <a:gd name="T9" fmla="*/ 981075 h 6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98"/>
                <a:gd name="T16" fmla="*/ 0 h 618"/>
                <a:gd name="T17" fmla="*/ 1398 w 1398"/>
                <a:gd name="T18" fmla="*/ 618 h 6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98" h="618">
                  <a:moveTo>
                    <a:pt x="0" y="618"/>
                  </a:moveTo>
                  <a:lnTo>
                    <a:pt x="350" y="0"/>
                  </a:lnTo>
                  <a:lnTo>
                    <a:pt x="1047" y="0"/>
                  </a:lnTo>
                  <a:lnTo>
                    <a:pt x="1398" y="618"/>
                  </a:lnTo>
                  <a:lnTo>
                    <a:pt x="0" y="618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 eaLnBrk="0" hangingPunct="0"/>
              <a:endParaRPr lang="en-US" sz="1200" dirty="0"/>
            </a:p>
          </p:txBody>
        </p:sp>
        <p:sp>
          <p:nvSpPr>
            <p:cNvPr id="92" name="Freeform 7">
              <a:extLst>
                <a:ext uri="{FF2B5EF4-FFF2-40B4-BE49-F238E27FC236}">
                  <a16:creationId xmlns:a16="http://schemas.microsoft.com/office/drawing/2014/main" id="{158620FB-BFFE-49D0-97D1-3FB34D636F2B}"/>
                </a:ext>
              </a:extLst>
            </p:cNvPr>
            <p:cNvSpPr>
              <a:spLocks/>
            </p:cNvSpPr>
            <p:nvPr/>
          </p:nvSpPr>
          <p:spPr bwMode="gray">
            <a:xfrm rot="5400000" flipV="1">
              <a:off x="2988047" y="3730992"/>
              <a:ext cx="1271467" cy="545982"/>
            </a:xfrm>
            <a:custGeom>
              <a:avLst/>
              <a:gdLst>
                <a:gd name="T0" fmla="*/ 0 w 1398"/>
                <a:gd name="T1" fmla="*/ 981075 h 618"/>
                <a:gd name="T2" fmla="*/ 555625 w 1398"/>
                <a:gd name="T3" fmla="*/ 0 h 618"/>
                <a:gd name="T4" fmla="*/ 1662113 w 1398"/>
                <a:gd name="T5" fmla="*/ 0 h 618"/>
                <a:gd name="T6" fmla="*/ 2219325 w 1398"/>
                <a:gd name="T7" fmla="*/ 981075 h 618"/>
                <a:gd name="T8" fmla="*/ 0 w 1398"/>
                <a:gd name="T9" fmla="*/ 981075 h 6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98"/>
                <a:gd name="T16" fmla="*/ 0 h 618"/>
                <a:gd name="T17" fmla="*/ 1398 w 1398"/>
                <a:gd name="T18" fmla="*/ 618 h 6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98" h="618">
                  <a:moveTo>
                    <a:pt x="0" y="618"/>
                  </a:moveTo>
                  <a:lnTo>
                    <a:pt x="350" y="0"/>
                  </a:lnTo>
                  <a:lnTo>
                    <a:pt x="1047" y="0"/>
                  </a:lnTo>
                  <a:lnTo>
                    <a:pt x="1398" y="618"/>
                  </a:lnTo>
                  <a:lnTo>
                    <a:pt x="0" y="618"/>
                  </a:lnTo>
                  <a:close/>
                </a:path>
              </a:pathLst>
            </a:custGeom>
            <a:solidFill>
              <a:srgbClr val="86BC25"/>
            </a:solidFill>
            <a:ln w="12700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 eaLnBrk="0" hangingPunct="0"/>
              <a:endParaRPr lang="en-US" sz="1200" dirty="0"/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32EDCFE3-B8C5-4285-94F8-8166BAF16209}"/>
                </a:ext>
              </a:extLst>
            </p:cNvPr>
            <p:cNvSpPr txBox="1"/>
            <p:nvPr/>
          </p:nvSpPr>
          <p:spPr>
            <a:xfrm>
              <a:off x="3443250" y="3872667"/>
              <a:ext cx="350758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400" b="1" dirty="0"/>
                <a:t>B</a:t>
              </a:r>
            </a:p>
          </p:txBody>
        </p:sp>
        <p:sp>
          <p:nvSpPr>
            <p:cNvPr id="198" name="Freeform 142">
              <a:extLst>
                <a:ext uri="{FF2B5EF4-FFF2-40B4-BE49-F238E27FC236}">
                  <a16:creationId xmlns:a16="http://schemas.microsoft.com/office/drawing/2014/main" id="{C917BAB5-6672-4081-86A8-CBABE5CD6CB5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4019632" y="3895758"/>
              <a:ext cx="139682" cy="229554"/>
            </a:xfrm>
            <a:custGeom>
              <a:avLst/>
              <a:gdLst>
                <a:gd name="T0" fmla="*/ 190 w 194"/>
                <a:gd name="T1" fmla="*/ 216 h 320"/>
                <a:gd name="T2" fmla="*/ 174 w 194"/>
                <a:gd name="T3" fmla="*/ 216 h 320"/>
                <a:gd name="T4" fmla="*/ 107 w 194"/>
                <a:gd name="T5" fmla="*/ 283 h 320"/>
                <a:gd name="T6" fmla="*/ 107 w 194"/>
                <a:gd name="T7" fmla="*/ 10 h 320"/>
                <a:gd name="T8" fmla="*/ 97 w 194"/>
                <a:gd name="T9" fmla="*/ 0 h 320"/>
                <a:gd name="T10" fmla="*/ 86 w 194"/>
                <a:gd name="T11" fmla="*/ 10 h 320"/>
                <a:gd name="T12" fmla="*/ 86 w 194"/>
                <a:gd name="T13" fmla="*/ 283 h 320"/>
                <a:gd name="T14" fmla="*/ 19 w 194"/>
                <a:gd name="T15" fmla="*/ 216 h 320"/>
                <a:gd name="T16" fmla="*/ 4 w 194"/>
                <a:gd name="T17" fmla="*/ 216 h 320"/>
                <a:gd name="T18" fmla="*/ 4 w 194"/>
                <a:gd name="T19" fmla="*/ 231 h 320"/>
                <a:gd name="T20" fmla="*/ 89 w 194"/>
                <a:gd name="T21" fmla="*/ 317 h 320"/>
                <a:gd name="T22" fmla="*/ 93 w 194"/>
                <a:gd name="T23" fmla="*/ 319 h 320"/>
                <a:gd name="T24" fmla="*/ 97 w 194"/>
                <a:gd name="T25" fmla="*/ 320 h 320"/>
                <a:gd name="T26" fmla="*/ 101 w 194"/>
                <a:gd name="T27" fmla="*/ 319 h 320"/>
                <a:gd name="T28" fmla="*/ 104 w 194"/>
                <a:gd name="T29" fmla="*/ 317 h 320"/>
                <a:gd name="T30" fmla="*/ 190 w 194"/>
                <a:gd name="T31" fmla="*/ 231 h 320"/>
                <a:gd name="T32" fmla="*/ 190 w 194"/>
                <a:gd name="T33" fmla="*/ 21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4" h="320">
                  <a:moveTo>
                    <a:pt x="190" y="216"/>
                  </a:moveTo>
                  <a:cubicBezTo>
                    <a:pt x="185" y="212"/>
                    <a:pt x="179" y="212"/>
                    <a:pt x="174" y="216"/>
                  </a:cubicBezTo>
                  <a:cubicBezTo>
                    <a:pt x="107" y="283"/>
                    <a:pt x="107" y="283"/>
                    <a:pt x="107" y="283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4"/>
                    <a:pt x="103" y="0"/>
                    <a:pt x="97" y="0"/>
                  </a:cubicBezTo>
                  <a:cubicBezTo>
                    <a:pt x="91" y="0"/>
                    <a:pt x="86" y="4"/>
                    <a:pt x="86" y="10"/>
                  </a:cubicBezTo>
                  <a:cubicBezTo>
                    <a:pt x="86" y="283"/>
                    <a:pt x="86" y="283"/>
                    <a:pt x="86" y="283"/>
                  </a:cubicBezTo>
                  <a:cubicBezTo>
                    <a:pt x="19" y="216"/>
                    <a:pt x="19" y="216"/>
                    <a:pt x="19" y="216"/>
                  </a:cubicBezTo>
                  <a:cubicBezTo>
                    <a:pt x="15" y="212"/>
                    <a:pt x="8" y="212"/>
                    <a:pt x="4" y="216"/>
                  </a:cubicBezTo>
                  <a:cubicBezTo>
                    <a:pt x="0" y="220"/>
                    <a:pt x="0" y="227"/>
                    <a:pt x="4" y="231"/>
                  </a:cubicBezTo>
                  <a:cubicBezTo>
                    <a:pt x="89" y="317"/>
                    <a:pt x="89" y="317"/>
                    <a:pt x="89" y="317"/>
                  </a:cubicBezTo>
                  <a:cubicBezTo>
                    <a:pt x="90" y="318"/>
                    <a:pt x="91" y="318"/>
                    <a:pt x="93" y="319"/>
                  </a:cubicBezTo>
                  <a:cubicBezTo>
                    <a:pt x="94" y="319"/>
                    <a:pt x="95" y="320"/>
                    <a:pt x="97" y="320"/>
                  </a:cubicBezTo>
                  <a:cubicBezTo>
                    <a:pt x="98" y="320"/>
                    <a:pt x="99" y="319"/>
                    <a:pt x="101" y="319"/>
                  </a:cubicBezTo>
                  <a:cubicBezTo>
                    <a:pt x="102" y="318"/>
                    <a:pt x="103" y="318"/>
                    <a:pt x="104" y="317"/>
                  </a:cubicBezTo>
                  <a:cubicBezTo>
                    <a:pt x="190" y="231"/>
                    <a:pt x="190" y="231"/>
                    <a:pt x="190" y="231"/>
                  </a:cubicBezTo>
                  <a:cubicBezTo>
                    <a:pt x="194" y="227"/>
                    <a:pt x="194" y="220"/>
                    <a:pt x="190" y="216"/>
                  </a:cubicBezTo>
                  <a:close/>
                </a:path>
              </a:pathLst>
            </a:custGeom>
            <a:solidFill>
              <a:schemeClr val="accent2"/>
            </a:solidFill>
            <a:ln>
              <a:solidFill>
                <a:srgbClr val="046A38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9" name="Freeform 142">
              <a:extLst>
                <a:ext uri="{FF2B5EF4-FFF2-40B4-BE49-F238E27FC236}">
                  <a16:creationId xmlns:a16="http://schemas.microsoft.com/office/drawing/2014/main" id="{A3DB594A-5B9B-4EEF-899D-98C7580A46C7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416937" y="3889206"/>
              <a:ext cx="139682" cy="229554"/>
            </a:xfrm>
            <a:custGeom>
              <a:avLst/>
              <a:gdLst>
                <a:gd name="T0" fmla="*/ 190 w 194"/>
                <a:gd name="T1" fmla="*/ 216 h 320"/>
                <a:gd name="T2" fmla="*/ 174 w 194"/>
                <a:gd name="T3" fmla="*/ 216 h 320"/>
                <a:gd name="T4" fmla="*/ 107 w 194"/>
                <a:gd name="T5" fmla="*/ 283 h 320"/>
                <a:gd name="T6" fmla="*/ 107 w 194"/>
                <a:gd name="T7" fmla="*/ 10 h 320"/>
                <a:gd name="T8" fmla="*/ 97 w 194"/>
                <a:gd name="T9" fmla="*/ 0 h 320"/>
                <a:gd name="T10" fmla="*/ 86 w 194"/>
                <a:gd name="T11" fmla="*/ 10 h 320"/>
                <a:gd name="T12" fmla="*/ 86 w 194"/>
                <a:gd name="T13" fmla="*/ 283 h 320"/>
                <a:gd name="T14" fmla="*/ 19 w 194"/>
                <a:gd name="T15" fmla="*/ 216 h 320"/>
                <a:gd name="T16" fmla="*/ 4 w 194"/>
                <a:gd name="T17" fmla="*/ 216 h 320"/>
                <a:gd name="T18" fmla="*/ 4 w 194"/>
                <a:gd name="T19" fmla="*/ 231 h 320"/>
                <a:gd name="T20" fmla="*/ 89 w 194"/>
                <a:gd name="T21" fmla="*/ 317 h 320"/>
                <a:gd name="T22" fmla="*/ 93 w 194"/>
                <a:gd name="T23" fmla="*/ 319 h 320"/>
                <a:gd name="T24" fmla="*/ 97 w 194"/>
                <a:gd name="T25" fmla="*/ 320 h 320"/>
                <a:gd name="T26" fmla="*/ 101 w 194"/>
                <a:gd name="T27" fmla="*/ 319 h 320"/>
                <a:gd name="T28" fmla="*/ 104 w 194"/>
                <a:gd name="T29" fmla="*/ 317 h 320"/>
                <a:gd name="T30" fmla="*/ 190 w 194"/>
                <a:gd name="T31" fmla="*/ 231 h 320"/>
                <a:gd name="T32" fmla="*/ 190 w 194"/>
                <a:gd name="T33" fmla="*/ 21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4" h="320">
                  <a:moveTo>
                    <a:pt x="190" y="216"/>
                  </a:moveTo>
                  <a:cubicBezTo>
                    <a:pt x="185" y="212"/>
                    <a:pt x="179" y="212"/>
                    <a:pt x="174" y="216"/>
                  </a:cubicBezTo>
                  <a:cubicBezTo>
                    <a:pt x="107" y="283"/>
                    <a:pt x="107" y="283"/>
                    <a:pt x="107" y="283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4"/>
                    <a:pt x="103" y="0"/>
                    <a:pt x="97" y="0"/>
                  </a:cubicBezTo>
                  <a:cubicBezTo>
                    <a:pt x="91" y="0"/>
                    <a:pt x="86" y="4"/>
                    <a:pt x="86" y="10"/>
                  </a:cubicBezTo>
                  <a:cubicBezTo>
                    <a:pt x="86" y="283"/>
                    <a:pt x="86" y="283"/>
                    <a:pt x="86" y="283"/>
                  </a:cubicBezTo>
                  <a:cubicBezTo>
                    <a:pt x="19" y="216"/>
                    <a:pt x="19" y="216"/>
                    <a:pt x="19" y="216"/>
                  </a:cubicBezTo>
                  <a:cubicBezTo>
                    <a:pt x="15" y="212"/>
                    <a:pt x="8" y="212"/>
                    <a:pt x="4" y="216"/>
                  </a:cubicBezTo>
                  <a:cubicBezTo>
                    <a:pt x="0" y="220"/>
                    <a:pt x="0" y="227"/>
                    <a:pt x="4" y="231"/>
                  </a:cubicBezTo>
                  <a:cubicBezTo>
                    <a:pt x="89" y="317"/>
                    <a:pt x="89" y="317"/>
                    <a:pt x="89" y="317"/>
                  </a:cubicBezTo>
                  <a:cubicBezTo>
                    <a:pt x="90" y="318"/>
                    <a:pt x="91" y="318"/>
                    <a:pt x="93" y="319"/>
                  </a:cubicBezTo>
                  <a:cubicBezTo>
                    <a:pt x="94" y="319"/>
                    <a:pt x="95" y="320"/>
                    <a:pt x="97" y="320"/>
                  </a:cubicBezTo>
                  <a:cubicBezTo>
                    <a:pt x="98" y="320"/>
                    <a:pt x="99" y="319"/>
                    <a:pt x="101" y="319"/>
                  </a:cubicBezTo>
                  <a:cubicBezTo>
                    <a:pt x="102" y="318"/>
                    <a:pt x="103" y="318"/>
                    <a:pt x="104" y="317"/>
                  </a:cubicBezTo>
                  <a:cubicBezTo>
                    <a:pt x="190" y="231"/>
                    <a:pt x="190" y="231"/>
                    <a:pt x="190" y="231"/>
                  </a:cubicBezTo>
                  <a:cubicBezTo>
                    <a:pt x="194" y="227"/>
                    <a:pt x="194" y="220"/>
                    <a:pt x="190" y="216"/>
                  </a:cubicBezTo>
                  <a:close/>
                </a:path>
              </a:pathLst>
            </a:custGeom>
            <a:solidFill>
              <a:schemeClr val="accent2"/>
            </a:solidFill>
            <a:ln>
              <a:solidFill>
                <a:srgbClr val="046A38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5E20F114-32FB-4B8E-B1BC-81ABB4FFD014}"/>
                </a:ext>
              </a:extLst>
            </p:cNvPr>
            <p:cNvSpPr txBox="1"/>
            <p:nvPr/>
          </p:nvSpPr>
          <p:spPr>
            <a:xfrm>
              <a:off x="2522042" y="3624349"/>
              <a:ext cx="515417" cy="69249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000" b="1" dirty="0"/>
                <a:t>1010</a:t>
              </a:r>
            </a:p>
            <a:p>
              <a:pPr algn="ctr">
                <a:spcBef>
                  <a:spcPts val="200"/>
                </a:spcBef>
                <a:buSzPct val="100000"/>
              </a:pPr>
              <a:r>
                <a:rPr lang="en-US" sz="1000" b="1" dirty="0"/>
                <a:t>1001</a:t>
              </a:r>
            </a:p>
            <a:p>
              <a:pPr algn="ctr">
                <a:spcBef>
                  <a:spcPts val="200"/>
                </a:spcBef>
                <a:buSzPct val="100000"/>
              </a:pPr>
              <a:r>
                <a:rPr lang="en-US" sz="1000" b="1" dirty="0"/>
                <a:t>1010</a:t>
              </a:r>
            </a:p>
            <a:p>
              <a:pPr algn="ctr">
                <a:spcBef>
                  <a:spcPts val="200"/>
                </a:spcBef>
                <a:buSzPct val="100000"/>
              </a:pPr>
              <a:r>
                <a:rPr lang="en-US" sz="1000" b="1" dirty="0"/>
                <a:t>1101</a:t>
              </a:r>
            </a:p>
          </p:txBody>
        </p:sp>
        <p:sp>
          <p:nvSpPr>
            <p:cNvPr id="82" name="Freeform 142">
              <a:extLst>
                <a:ext uri="{FF2B5EF4-FFF2-40B4-BE49-F238E27FC236}">
                  <a16:creationId xmlns:a16="http://schemas.microsoft.com/office/drawing/2014/main" id="{F9E8D647-40BB-429B-B873-ED023F3C480D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2341890" y="3898508"/>
              <a:ext cx="139682" cy="229554"/>
            </a:xfrm>
            <a:custGeom>
              <a:avLst/>
              <a:gdLst>
                <a:gd name="T0" fmla="*/ 190 w 194"/>
                <a:gd name="T1" fmla="*/ 216 h 320"/>
                <a:gd name="T2" fmla="*/ 174 w 194"/>
                <a:gd name="T3" fmla="*/ 216 h 320"/>
                <a:gd name="T4" fmla="*/ 107 w 194"/>
                <a:gd name="T5" fmla="*/ 283 h 320"/>
                <a:gd name="T6" fmla="*/ 107 w 194"/>
                <a:gd name="T7" fmla="*/ 10 h 320"/>
                <a:gd name="T8" fmla="*/ 97 w 194"/>
                <a:gd name="T9" fmla="*/ 0 h 320"/>
                <a:gd name="T10" fmla="*/ 86 w 194"/>
                <a:gd name="T11" fmla="*/ 10 h 320"/>
                <a:gd name="T12" fmla="*/ 86 w 194"/>
                <a:gd name="T13" fmla="*/ 283 h 320"/>
                <a:gd name="T14" fmla="*/ 19 w 194"/>
                <a:gd name="T15" fmla="*/ 216 h 320"/>
                <a:gd name="T16" fmla="*/ 4 w 194"/>
                <a:gd name="T17" fmla="*/ 216 h 320"/>
                <a:gd name="T18" fmla="*/ 4 w 194"/>
                <a:gd name="T19" fmla="*/ 231 h 320"/>
                <a:gd name="T20" fmla="*/ 89 w 194"/>
                <a:gd name="T21" fmla="*/ 317 h 320"/>
                <a:gd name="T22" fmla="*/ 93 w 194"/>
                <a:gd name="T23" fmla="*/ 319 h 320"/>
                <a:gd name="T24" fmla="*/ 97 w 194"/>
                <a:gd name="T25" fmla="*/ 320 h 320"/>
                <a:gd name="T26" fmla="*/ 101 w 194"/>
                <a:gd name="T27" fmla="*/ 319 h 320"/>
                <a:gd name="T28" fmla="*/ 104 w 194"/>
                <a:gd name="T29" fmla="*/ 317 h 320"/>
                <a:gd name="T30" fmla="*/ 190 w 194"/>
                <a:gd name="T31" fmla="*/ 231 h 320"/>
                <a:gd name="T32" fmla="*/ 190 w 194"/>
                <a:gd name="T33" fmla="*/ 21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4" h="320">
                  <a:moveTo>
                    <a:pt x="190" y="216"/>
                  </a:moveTo>
                  <a:cubicBezTo>
                    <a:pt x="185" y="212"/>
                    <a:pt x="179" y="212"/>
                    <a:pt x="174" y="216"/>
                  </a:cubicBezTo>
                  <a:cubicBezTo>
                    <a:pt x="107" y="283"/>
                    <a:pt x="107" y="283"/>
                    <a:pt x="107" y="283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4"/>
                    <a:pt x="103" y="0"/>
                    <a:pt x="97" y="0"/>
                  </a:cubicBezTo>
                  <a:cubicBezTo>
                    <a:pt x="91" y="0"/>
                    <a:pt x="86" y="4"/>
                    <a:pt x="86" y="10"/>
                  </a:cubicBezTo>
                  <a:cubicBezTo>
                    <a:pt x="86" y="283"/>
                    <a:pt x="86" y="283"/>
                    <a:pt x="86" y="283"/>
                  </a:cubicBezTo>
                  <a:cubicBezTo>
                    <a:pt x="19" y="216"/>
                    <a:pt x="19" y="216"/>
                    <a:pt x="19" y="216"/>
                  </a:cubicBezTo>
                  <a:cubicBezTo>
                    <a:pt x="15" y="212"/>
                    <a:pt x="8" y="212"/>
                    <a:pt x="4" y="216"/>
                  </a:cubicBezTo>
                  <a:cubicBezTo>
                    <a:pt x="0" y="220"/>
                    <a:pt x="0" y="227"/>
                    <a:pt x="4" y="231"/>
                  </a:cubicBezTo>
                  <a:cubicBezTo>
                    <a:pt x="89" y="317"/>
                    <a:pt x="89" y="317"/>
                    <a:pt x="89" y="317"/>
                  </a:cubicBezTo>
                  <a:cubicBezTo>
                    <a:pt x="90" y="318"/>
                    <a:pt x="91" y="318"/>
                    <a:pt x="93" y="319"/>
                  </a:cubicBezTo>
                  <a:cubicBezTo>
                    <a:pt x="94" y="319"/>
                    <a:pt x="95" y="320"/>
                    <a:pt x="97" y="320"/>
                  </a:cubicBezTo>
                  <a:cubicBezTo>
                    <a:pt x="98" y="320"/>
                    <a:pt x="99" y="319"/>
                    <a:pt x="101" y="319"/>
                  </a:cubicBezTo>
                  <a:cubicBezTo>
                    <a:pt x="102" y="318"/>
                    <a:pt x="103" y="318"/>
                    <a:pt x="104" y="317"/>
                  </a:cubicBezTo>
                  <a:cubicBezTo>
                    <a:pt x="190" y="231"/>
                    <a:pt x="190" y="231"/>
                    <a:pt x="190" y="231"/>
                  </a:cubicBezTo>
                  <a:cubicBezTo>
                    <a:pt x="194" y="227"/>
                    <a:pt x="194" y="220"/>
                    <a:pt x="190" y="216"/>
                  </a:cubicBezTo>
                  <a:close/>
                </a:path>
              </a:pathLst>
            </a:custGeom>
            <a:solidFill>
              <a:schemeClr val="accent2"/>
            </a:solidFill>
            <a:ln>
              <a:solidFill>
                <a:srgbClr val="046A38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9" name="Freeform 142">
              <a:extLst>
                <a:ext uri="{FF2B5EF4-FFF2-40B4-BE49-F238E27FC236}">
                  <a16:creationId xmlns:a16="http://schemas.microsoft.com/office/drawing/2014/main" id="{54366FC4-8FE7-4664-A067-E5F56A3E2210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078069" y="3889206"/>
              <a:ext cx="139682" cy="229554"/>
            </a:xfrm>
            <a:custGeom>
              <a:avLst/>
              <a:gdLst>
                <a:gd name="T0" fmla="*/ 190 w 194"/>
                <a:gd name="T1" fmla="*/ 216 h 320"/>
                <a:gd name="T2" fmla="*/ 174 w 194"/>
                <a:gd name="T3" fmla="*/ 216 h 320"/>
                <a:gd name="T4" fmla="*/ 107 w 194"/>
                <a:gd name="T5" fmla="*/ 283 h 320"/>
                <a:gd name="T6" fmla="*/ 107 w 194"/>
                <a:gd name="T7" fmla="*/ 10 h 320"/>
                <a:gd name="T8" fmla="*/ 97 w 194"/>
                <a:gd name="T9" fmla="*/ 0 h 320"/>
                <a:gd name="T10" fmla="*/ 86 w 194"/>
                <a:gd name="T11" fmla="*/ 10 h 320"/>
                <a:gd name="T12" fmla="*/ 86 w 194"/>
                <a:gd name="T13" fmla="*/ 283 h 320"/>
                <a:gd name="T14" fmla="*/ 19 w 194"/>
                <a:gd name="T15" fmla="*/ 216 h 320"/>
                <a:gd name="T16" fmla="*/ 4 w 194"/>
                <a:gd name="T17" fmla="*/ 216 h 320"/>
                <a:gd name="T18" fmla="*/ 4 w 194"/>
                <a:gd name="T19" fmla="*/ 231 h 320"/>
                <a:gd name="T20" fmla="*/ 89 w 194"/>
                <a:gd name="T21" fmla="*/ 317 h 320"/>
                <a:gd name="T22" fmla="*/ 93 w 194"/>
                <a:gd name="T23" fmla="*/ 319 h 320"/>
                <a:gd name="T24" fmla="*/ 97 w 194"/>
                <a:gd name="T25" fmla="*/ 320 h 320"/>
                <a:gd name="T26" fmla="*/ 101 w 194"/>
                <a:gd name="T27" fmla="*/ 319 h 320"/>
                <a:gd name="T28" fmla="*/ 104 w 194"/>
                <a:gd name="T29" fmla="*/ 317 h 320"/>
                <a:gd name="T30" fmla="*/ 190 w 194"/>
                <a:gd name="T31" fmla="*/ 231 h 320"/>
                <a:gd name="T32" fmla="*/ 190 w 194"/>
                <a:gd name="T33" fmla="*/ 21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4" h="320">
                  <a:moveTo>
                    <a:pt x="190" y="216"/>
                  </a:moveTo>
                  <a:cubicBezTo>
                    <a:pt x="185" y="212"/>
                    <a:pt x="179" y="212"/>
                    <a:pt x="174" y="216"/>
                  </a:cubicBezTo>
                  <a:cubicBezTo>
                    <a:pt x="107" y="283"/>
                    <a:pt x="107" y="283"/>
                    <a:pt x="107" y="283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4"/>
                    <a:pt x="103" y="0"/>
                    <a:pt x="97" y="0"/>
                  </a:cubicBezTo>
                  <a:cubicBezTo>
                    <a:pt x="91" y="0"/>
                    <a:pt x="86" y="4"/>
                    <a:pt x="86" y="10"/>
                  </a:cubicBezTo>
                  <a:cubicBezTo>
                    <a:pt x="86" y="283"/>
                    <a:pt x="86" y="283"/>
                    <a:pt x="86" y="283"/>
                  </a:cubicBezTo>
                  <a:cubicBezTo>
                    <a:pt x="19" y="216"/>
                    <a:pt x="19" y="216"/>
                    <a:pt x="19" y="216"/>
                  </a:cubicBezTo>
                  <a:cubicBezTo>
                    <a:pt x="15" y="212"/>
                    <a:pt x="8" y="212"/>
                    <a:pt x="4" y="216"/>
                  </a:cubicBezTo>
                  <a:cubicBezTo>
                    <a:pt x="0" y="220"/>
                    <a:pt x="0" y="227"/>
                    <a:pt x="4" y="231"/>
                  </a:cubicBezTo>
                  <a:cubicBezTo>
                    <a:pt x="89" y="317"/>
                    <a:pt x="89" y="317"/>
                    <a:pt x="89" y="317"/>
                  </a:cubicBezTo>
                  <a:cubicBezTo>
                    <a:pt x="90" y="318"/>
                    <a:pt x="91" y="318"/>
                    <a:pt x="93" y="319"/>
                  </a:cubicBezTo>
                  <a:cubicBezTo>
                    <a:pt x="94" y="319"/>
                    <a:pt x="95" y="320"/>
                    <a:pt x="97" y="320"/>
                  </a:cubicBezTo>
                  <a:cubicBezTo>
                    <a:pt x="98" y="320"/>
                    <a:pt x="99" y="319"/>
                    <a:pt x="101" y="319"/>
                  </a:cubicBezTo>
                  <a:cubicBezTo>
                    <a:pt x="102" y="318"/>
                    <a:pt x="103" y="318"/>
                    <a:pt x="104" y="317"/>
                  </a:cubicBezTo>
                  <a:cubicBezTo>
                    <a:pt x="190" y="231"/>
                    <a:pt x="190" y="231"/>
                    <a:pt x="190" y="231"/>
                  </a:cubicBezTo>
                  <a:cubicBezTo>
                    <a:pt x="194" y="227"/>
                    <a:pt x="194" y="220"/>
                    <a:pt x="190" y="216"/>
                  </a:cubicBezTo>
                  <a:close/>
                </a:path>
              </a:pathLst>
            </a:custGeom>
            <a:solidFill>
              <a:schemeClr val="accent2"/>
            </a:solidFill>
            <a:ln>
              <a:solidFill>
                <a:srgbClr val="046A38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9503BA1-EE22-4DA1-868D-ECA2158BDFE0}"/>
              </a:ext>
            </a:extLst>
          </p:cNvPr>
          <p:cNvGrpSpPr/>
          <p:nvPr/>
        </p:nvGrpSpPr>
        <p:grpSpPr>
          <a:xfrm>
            <a:off x="7047043" y="871725"/>
            <a:ext cx="1905686" cy="2999612"/>
            <a:chOff x="7047043" y="871725"/>
            <a:chExt cx="1905686" cy="2999612"/>
          </a:xfrm>
        </p:grpSpPr>
        <p:grpSp>
          <p:nvGrpSpPr>
            <p:cNvPr id="111" name="Group 750">
              <a:extLst>
                <a:ext uri="{FF2B5EF4-FFF2-40B4-BE49-F238E27FC236}">
                  <a16:creationId xmlns:a16="http://schemas.microsoft.com/office/drawing/2014/main" id="{FEB08DAD-DF56-46F8-947D-44FE9596AF9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34928" y="871725"/>
              <a:ext cx="744477" cy="744477"/>
              <a:chOff x="6961" y="3142"/>
              <a:chExt cx="340" cy="340"/>
            </a:xfrm>
            <a:solidFill>
              <a:schemeClr val="accent2"/>
            </a:solidFill>
          </p:grpSpPr>
          <p:sp>
            <p:nvSpPr>
              <p:cNvPr id="112" name="Freeform 751">
                <a:extLst>
                  <a:ext uri="{FF2B5EF4-FFF2-40B4-BE49-F238E27FC236}">
                    <a16:creationId xmlns:a16="http://schemas.microsoft.com/office/drawing/2014/main" id="{F9A1D391-541D-4928-B123-5BD28C4D05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1" y="3142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3" name="Freeform 752">
                <a:extLst>
                  <a:ext uri="{FF2B5EF4-FFF2-40B4-BE49-F238E27FC236}">
                    <a16:creationId xmlns:a16="http://schemas.microsoft.com/office/drawing/2014/main" id="{A1C2F598-22BE-4DD9-9921-813E017F43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37" y="3206"/>
                <a:ext cx="187" cy="185"/>
              </a:xfrm>
              <a:custGeom>
                <a:avLst/>
                <a:gdLst>
                  <a:gd name="T0" fmla="*/ 274 w 281"/>
                  <a:gd name="T1" fmla="*/ 257 h 279"/>
                  <a:gd name="T2" fmla="*/ 228 w 281"/>
                  <a:gd name="T3" fmla="*/ 246 h 279"/>
                  <a:gd name="T4" fmla="*/ 204 w 281"/>
                  <a:gd name="T5" fmla="*/ 242 h 279"/>
                  <a:gd name="T6" fmla="*/ 187 w 281"/>
                  <a:gd name="T7" fmla="*/ 194 h 279"/>
                  <a:gd name="T8" fmla="*/ 217 w 281"/>
                  <a:gd name="T9" fmla="*/ 126 h 279"/>
                  <a:gd name="T10" fmla="*/ 209 w 281"/>
                  <a:gd name="T11" fmla="*/ 28 h 279"/>
                  <a:gd name="T12" fmla="*/ 141 w 281"/>
                  <a:gd name="T13" fmla="*/ 0 h 279"/>
                  <a:gd name="T14" fmla="*/ 72 w 281"/>
                  <a:gd name="T15" fmla="*/ 28 h 279"/>
                  <a:gd name="T16" fmla="*/ 65 w 281"/>
                  <a:gd name="T17" fmla="*/ 126 h 279"/>
                  <a:gd name="T18" fmla="*/ 94 w 281"/>
                  <a:gd name="T19" fmla="*/ 193 h 279"/>
                  <a:gd name="T20" fmla="*/ 77 w 281"/>
                  <a:gd name="T21" fmla="*/ 242 h 279"/>
                  <a:gd name="T22" fmla="*/ 53 w 281"/>
                  <a:gd name="T23" fmla="*/ 246 h 279"/>
                  <a:gd name="T24" fmla="*/ 7 w 281"/>
                  <a:gd name="T25" fmla="*/ 257 h 279"/>
                  <a:gd name="T26" fmla="*/ 3 w 281"/>
                  <a:gd name="T27" fmla="*/ 272 h 279"/>
                  <a:gd name="T28" fmla="*/ 18 w 281"/>
                  <a:gd name="T29" fmla="*/ 276 h 279"/>
                  <a:gd name="T30" fmla="*/ 56 w 281"/>
                  <a:gd name="T31" fmla="*/ 267 h 279"/>
                  <a:gd name="T32" fmla="*/ 87 w 281"/>
                  <a:gd name="T33" fmla="*/ 261 h 279"/>
                  <a:gd name="T34" fmla="*/ 113 w 281"/>
                  <a:gd name="T35" fmla="*/ 219 h 279"/>
                  <a:gd name="T36" fmla="*/ 112 w 281"/>
                  <a:gd name="T37" fmla="*/ 182 h 279"/>
                  <a:gd name="T38" fmla="*/ 85 w 281"/>
                  <a:gd name="T39" fmla="*/ 120 h 279"/>
                  <a:gd name="T40" fmla="*/ 80 w 281"/>
                  <a:gd name="T41" fmla="*/ 63 h 279"/>
                  <a:gd name="T42" fmla="*/ 125 w 281"/>
                  <a:gd name="T43" fmla="*/ 79 h 279"/>
                  <a:gd name="T44" fmla="*/ 155 w 281"/>
                  <a:gd name="T45" fmla="*/ 74 h 279"/>
                  <a:gd name="T46" fmla="*/ 159 w 281"/>
                  <a:gd name="T47" fmla="*/ 71 h 279"/>
                  <a:gd name="T48" fmla="*/ 162 w 281"/>
                  <a:gd name="T49" fmla="*/ 68 h 279"/>
                  <a:gd name="T50" fmla="*/ 165 w 281"/>
                  <a:gd name="T51" fmla="*/ 71 h 279"/>
                  <a:gd name="T52" fmla="*/ 172 w 281"/>
                  <a:gd name="T53" fmla="*/ 74 h 279"/>
                  <a:gd name="T54" fmla="*/ 201 w 281"/>
                  <a:gd name="T55" fmla="*/ 63 h 279"/>
                  <a:gd name="T56" fmla="*/ 196 w 281"/>
                  <a:gd name="T57" fmla="*/ 120 h 279"/>
                  <a:gd name="T58" fmla="*/ 170 w 281"/>
                  <a:gd name="T59" fmla="*/ 182 h 279"/>
                  <a:gd name="T60" fmla="*/ 169 w 281"/>
                  <a:gd name="T61" fmla="*/ 219 h 279"/>
                  <a:gd name="T62" fmla="*/ 194 w 281"/>
                  <a:gd name="T63" fmla="*/ 261 h 279"/>
                  <a:gd name="T64" fmla="*/ 226 w 281"/>
                  <a:gd name="T65" fmla="*/ 267 h 279"/>
                  <a:gd name="T66" fmla="*/ 263 w 281"/>
                  <a:gd name="T67" fmla="*/ 276 h 279"/>
                  <a:gd name="T68" fmla="*/ 269 w 281"/>
                  <a:gd name="T69" fmla="*/ 277 h 279"/>
                  <a:gd name="T70" fmla="*/ 278 w 281"/>
                  <a:gd name="T71" fmla="*/ 272 h 279"/>
                  <a:gd name="T72" fmla="*/ 274 w 281"/>
                  <a:gd name="T73" fmla="*/ 257 h 279"/>
                  <a:gd name="T74" fmla="*/ 177 w 281"/>
                  <a:gd name="T75" fmla="*/ 53 h 279"/>
                  <a:gd name="T76" fmla="*/ 170 w 281"/>
                  <a:gd name="T77" fmla="*/ 45 h 279"/>
                  <a:gd name="T78" fmla="*/ 154 w 281"/>
                  <a:gd name="T79" fmla="*/ 45 h 279"/>
                  <a:gd name="T80" fmla="*/ 146 w 281"/>
                  <a:gd name="T81" fmla="*/ 54 h 279"/>
                  <a:gd name="T82" fmla="*/ 89 w 281"/>
                  <a:gd name="T83" fmla="*/ 41 h 279"/>
                  <a:gd name="T84" fmla="*/ 89 w 281"/>
                  <a:gd name="T85" fmla="*/ 41 h 279"/>
                  <a:gd name="T86" fmla="*/ 141 w 281"/>
                  <a:gd name="T87" fmla="*/ 21 h 279"/>
                  <a:gd name="T88" fmla="*/ 192 w 281"/>
                  <a:gd name="T89" fmla="*/ 41 h 279"/>
                  <a:gd name="T90" fmla="*/ 193 w 281"/>
                  <a:gd name="T91" fmla="*/ 41 h 279"/>
                  <a:gd name="T92" fmla="*/ 177 w 281"/>
                  <a:gd name="T93" fmla="*/ 5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81" h="279">
                    <a:moveTo>
                      <a:pt x="274" y="257"/>
                    </a:moveTo>
                    <a:cubicBezTo>
                      <a:pt x="260" y="249"/>
                      <a:pt x="243" y="248"/>
                      <a:pt x="228" y="246"/>
                    </a:cubicBezTo>
                    <a:cubicBezTo>
                      <a:pt x="218" y="245"/>
                      <a:pt x="208" y="244"/>
                      <a:pt x="204" y="242"/>
                    </a:cubicBezTo>
                    <a:cubicBezTo>
                      <a:pt x="193" y="236"/>
                      <a:pt x="184" y="201"/>
                      <a:pt x="187" y="194"/>
                    </a:cubicBezTo>
                    <a:cubicBezTo>
                      <a:pt x="200" y="176"/>
                      <a:pt x="212" y="144"/>
                      <a:pt x="217" y="126"/>
                    </a:cubicBezTo>
                    <a:cubicBezTo>
                      <a:pt x="223" y="102"/>
                      <a:pt x="232" y="58"/>
                      <a:pt x="209" y="28"/>
                    </a:cubicBezTo>
                    <a:cubicBezTo>
                      <a:pt x="195" y="9"/>
                      <a:pt x="172" y="0"/>
                      <a:pt x="141" y="0"/>
                    </a:cubicBezTo>
                    <a:cubicBezTo>
                      <a:pt x="109" y="0"/>
                      <a:pt x="86" y="9"/>
                      <a:pt x="72" y="28"/>
                    </a:cubicBezTo>
                    <a:cubicBezTo>
                      <a:pt x="50" y="58"/>
                      <a:pt x="58" y="102"/>
                      <a:pt x="65" y="126"/>
                    </a:cubicBezTo>
                    <a:cubicBezTo>
                      <a:pt x="70" y="144"/>
                      <a:pt x="82" y="176"/>
                      <a:pt x="94" y="193"/>
                    </a:cubicBezTo>
                    <a:cubicBezTo>
                      <a:pt x="97" y="201"/>
                      <a:pt x="88" y="236"/>
                      <a:pt x="77" y="242"/>
                    </a:cubicBezTo>
                    <a:cubicBezTo>
                      <a:pt x="73" y="244"/>
                      <a:pt x="63" y="245"/>
                      <a:pt x="53" y="246"/>
                    </a:cubicBezTo>
                    <a:cubicBezTo>
                      <a:pt x="38" y="248"/>
                      <a:pt x="21" y="249"/>
                      <a:pt x="7" y="257"/>
                    </a:cubicBezTo>
                    <a:cubicBezTo>
                      <a:pt x="2" y="260"/>
                      <a:pt x="0" y="266"/>
                      <a:pt x="3" y="272"/>
                    </a:cubicBezTo>
                    <a:cubicBezTo>
                      <a:pt x="6" y="277"/>
                      <a:pt x="13" y="279"/>
                      <a:pt x="18" y="276"/>
                    </a:cubicBezTo>
                    <a:cubicBezTo>
                      <a:pt x="28" y="270"/>
                      <a:pt x="43" y="269"/>
                      <a:pt x="56" y="267"/>
                    </a:cubicBezTo>
                    <a:cubicBezTo>
                      <a:pt x="68" y="266"/>
                      <a:pt x="79" y="265"/>
                      <a:pt x="87" y="261"/>
                    </a:cubicBezTo>
                    <a:cubicBezTo>
                      <a:pt x="103" y="252"/>
                      <a:pt x="110" y="229"/>
                      <a:pt x="113" y="219"/>
                    </a:cubicBezTo>
                    <a:cubicBezTo>
                      <a:pt x="115" y="210"/>
                      <a:pt x="118" y="192"/>
                      <a:pt x="112" y="182"/>
                    </a:cubicBezTo>
                    <a:cubicBezTo>
                      <a:pt x="101" y="167"/>
                      <a:pt x="90" y="137"/>
                      <a:pt x="85" y="120"/>
                    </a:cubicBezTo>
                    <a:cubicBezTo>
                      <a:pt x="82" y="109"/>
                      <a:pt x="76" y="84"/>
                      <a:pt x="80" y="63"/>
                    </a:cubicBezTo>
                    <a:cubicBezTo>
                      <a:pt x="94" y="75"/>
                      <a:pt x="110" y="79"/>
                      <a:pt x="125" y="79"/>
                    </a:cubicBezTo>
                    <a:cubicBezTo>
                      <a:pt x="137" y="79"/>
                      <a:pt x="148" y="76"/>
                      <a:pt x="155" y="74"/>
                    </a:cubicBezTo>
                    <a:cubicBezTo>
                      <a:pt x="156" y="73"/>
                      <a:pt x="158" y="72"/>
                      <a:pt x="159" y="71"/>
                    </a:cubicBezTo>
                    <a:cubicBezTo>
                      <a:pt x="162" y="68"/>
                      <a:pt x="162" y="68"/>
                      <a:pt x="162" y="68"/>
                    </a:cubicBezTo>
                    <a:cubicBezTo>
                      <a:pt x="165" y="71"/>
                      <a:pt x="165" y="71"/>
                      <a:pt x="165" y="71"/>
                    </a:cubicBezTo>
                    <a:cubicBezTo>
                      <a:pt x="167" y="73"/>
                      <a:pt x="169" y="74"/>
                      <a:pt x="172" y="74"/>
                    </a:cubicBezTo>
                    <a:cubicBezTo>
                      <a:pt x="173" y="74"/>
                      <a:pt x="187" y="75"/>
                      <a:pt x="201" y="63"/>
                    </a:cubicBezTo>
                    <a:cubicBezTo>
                      <a:pt x="205" y="84"/>
                      <a:pt x="199" y="109"/>
                      <a:pt x="196" y="120"/>
                    </a:cubicBezTo>
                    <a:cubicBezTo>
                      <a:pt x="191" y="137"/>
                      <a:pt x="180" y="167"/>
                      <a:pt x="170" y="182"/>
                    </a:cubicBezTo>
                    <a:cubicBezTo>
                      <a:pt x="163" y="192"/>
                      <a:pt x="166" y="210"/>
                      <a:pt x="169" y="219"/>
                    </a:cubicBezTo>
                    <a:cubicBezTo>
                      <a:pt x="171" y="229"/>
                      <a:pt x="178" y="252"/>
                      <a:pt x="194" y="261"/>
                    </a:cubicBezTo>
                    <a:cubicBezTo>
                      <a:pt x="202" y="265"/>
                      <a:pt x="213" y="266"/>
                      <a:pt x="226" y="267"/>
                    </a:cubicBezTo>
                    <a:cubicBezTo>
                      <a:pt x="239" y="269"/>
                      <a:pt x="254" y="270"/>
                      <a:pt x="263" y="276"/>
                    </a:cubicBezTo>
                    <a:cubicBezTo>
                      <a:pt x="265" y="277"/>
                      <a:pt x="267" y="277"/>
                      <a:pt x="269" y="277"/>
                    </a:cubicBezTo>
                    <a:cubicBezTo>
                      <a:pt x="272" y="277"/>
                      <a:pt x="276" y="275"/>
                      <a:pt x="278" y="272"/>
                    </a:cubicBezTo>
                    <a:cubicBezTo>
                      <a:pt x="281" y="266"/>
                      <a:pt x="279" y="260"/>
                      <a:pt x="274" y="257"/>
                    </a:cubicBezTo>
                    <a:close/>
                    <a:moveTo>
                      <a:pt x="177" y="53"/>
                    </a:moveTo>
                    <a:cubicBezTo>
                      <a:pt x="170" y="45"/>
                      <a:pt x="170" y="45"/>
                      <a:pt x="170" y="45"/>
                    </a:cubicBezTo>
                    <a:cubicBezTo>
                      <a:pt x="165" y="41"/>
                      <a:pt x="159" y="41"/>
                      <a:pt x="154" y="45"/>
                    </a:cubicBezTo>
                    <a:cubicBezTo>
                      <a:pt x="146" y="54"/>
                      <a:pt x="146" y="54"/>
                      <a:pt x="146" y="54"/>
                    </a:cubicBezTo>
                    <a:cubicBezTo>
                      <a:pt x="137" y="57"/>
                      <a:pt x="106" y="64"/>
                      <a:pt x="89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9" y="28"/>
                      <a:pt x="116" y="21"/>
                      <a:pt x="141" y="21"/>
                    </a:cubicBezTo>
                    <a:cubicBezTo>
                      <a:pt x="165" y="21"/>
                      <a:pt x="182" y="28"/>
                      <a:pt x="192" y="41"/>
                    </a:cubicBezTo>
                    <a:cubicBezTo>
                      <a:pt x="192" y="41"/>
                      <a:pt x="192" y="41"/>
                      <a:pt x="193" y="41"/>
                    </a:cubicBezTo>
                    <a:cubicBezTo>
                      <a:pt x="187" y="49"/>
                      <a:pt x="180" y="52"/>
                      <a:pt x="177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21" name="Freeform 7">
              <a:extLst>
                <a:ext uri="{FF2B5EF4-FFF2-40B4-BE49-F238E27FC236}">
                  <a16:creationId xmlns:a16="http://schemas.microsoft.com/office/drawing/2014/main" id="{E86B285A-8C05-41EE-9E1C-D93B7B488723}"/>
                </a:ext>
              </a:extLst>
            </p:cNvPr>
            <p:cNvSpPr>
              <a:spLocks/>
            </p:cNvSpPr>
            <p:nvPr/>
          </p:nvSpPr>
          <p:spPr bwMode="gray">
            <a:xfrm rot="10800000">
              <a:off x="7059406" y="1992085"/>
              <a:ext cx="1893323" cy="731512"/>
            </a:xfrm>
            <a:custGeom>
              <a:avLst/>
              <a:gdLst>
                <a:gd name="T0" fmla="*/ 0 w 1398"/>
                <a:gd name="T1" fmla="*/ 981075 h 618"/>
                <a:gd name="T2" fmla="*/ 555625 w 1398"/>
                <a:gd name="T3" fmla="*/ 0 h 618"/>
                <a:gd name="T4" fmla="*/ 1662113 w 1398"/>
                <a:gd name="T5" fmla="*/ 0 h 618"/>
                <a:gd name="T6" fmla="*/ 2219325 w 1398"/>
                <a:gd name="T7" fmla="*/ 981075 h 618"/>
                <a:gd name="T8" fmla="*/ 0 w 1398"/>
                <a:gd name="T9" fmla="*/ 981075 h 6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98"/>
                <a:gd name="T16" fmla="*/ 0 h 618"/>
                <a:gd name="T17" fmla="*/ 1398 w 1398"/>
                <a:gd name="T18" fmla="*/ 618 h 6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98" h="618">
                  <a:moveTo>
                    <a:pt x="0" y="618"/>
                  </a:moveTo>
                  <a:lnTo>
                    <a:pt x="350" y="0"/>
                  </a:lnTo>
                  <a:lnTo>
                    <a:pt x="1047" y="0"/>
                  </a:lnTo>
                  <a:lnTo>
                    <a:pt x="1398" y="618"/>
                  </a:lnTo>
                  <a:lnTo>
                    <a:pt x="0" y="618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 eaLnBrk="0" hangingPunct="0"/>
              <a:endParaRPr lang="en-US" sz="1200" dirty="0"/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4522099E-2A4E-4AE7-AF22-562EE6592451}"/>
                </a:ext>
              </a:extLst>
            </p:cNvPr>
            <p:cNvSpPr txBox="1"/>
            <p:nvPr/>
          </p:nvSpPr>
          <p:spPr>
            <a:xfrm>
              <a:off x="7468910" y="2219685"/>
              <a:ext cx="1074319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400" b="1" dirty="0"/>
                <a:t>Generator</a:t>
              </a:r>
            </a:p>
          </p:txBody>
        </p:sp>
        <p:sp>
          <p:nvSpPr>
            <p:cNvPr id="131" name="Freeform 173">
              <a:extLst>
                <a:ext uri="{FF2B5EF4-FFF2-40B4-BE49-F238E27FC236}">
                  <a16:creationId xmlns:a16="http://schemas.microsoft.com/office/drawing/2014/main" id="{B158F814-BF7D-47A0-A3F6-127D93E53D5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047043" y="1869828"/>
              <a:ext cx="369021" cy="369021"/>
            </a:xfrm>
            <a:custGeom>
              <a:avLst/>
              <a:gdLst>
                <a:gd name="T0" fmla="*/ 392 w 512"/>
                <a:gd name="T1" fmla="*/ 188 h 512"/>
                <a:gd name="T2" fmla="*/ 394 w 512"/>
                <a:gd name="T3" fmla="*/ 193 h 512"/>
                <a:gd name="T4" fmla="*/ 393 w 512"/>
                <a:gd name="T5" fmla="*/ 196 h 512"/>
                <a:gd name="T6" fmla="*/ 267 w 512"/>
                <a:gd name="T7" fmla="*/ 325 h 512"/>
                <a:gd name="T8" fmla="*/ 266 w 512"/>
                <a:gd name="T9" fmla="*/ 323 h 512"/>
                <a:gd name="T10" fmla="*/ 254 w 512"/>
                <a:gd name="T11" fmla="*/ 315 h 512"/>
                <a:gd name="T12" fmla="*/ 383 w 512"/>
                <a:gd name="T13" fmla="*/ 186 h 512"/>
                <a:gd name="T14" fmla="*/ 392 w 512"/>
                <a:gd name="T15" fmla="*/ 188 h 512"/>
                <a:gd name="T16" fmla="*/ 512 w 512"/>
                <a:gd name="T17" fmla="*/ 256 h 512"/>
                <a:gd name="T18" fmla="*/ 256 w 512"/>
                <a:gd name="T19" fmla="*/ 512 h 512"/>
                <a:gd name="T20" fmla="*/ 0 w 512"/>
                <a:gd name="T21" fmla="*/ 256 h 512"/>
                <a:gd name="T22" fmla="*/ 256 w 512"/>
                <a:gd name="T23" fmla="*/ 0 h 512"/>
                <a:gd name="T24" fmla="*/ 512 w 512"/>
                <a:gd name="T25" fmla="*/ 256 h 512"/>
                <a:gd name="T26" fmla="*/ 143 w 512"/>
                <a:gd name="T27" fmla="*/ 360 h 512"/>
                <a:gd name="T28" fmla="*/ 149 w 512"/>
                <a:gd name="T29" fmla="*/ 362 h 512"/>
                <a:gd name="T30" fmla="*/ 158 w 512"/>
                <a:gd name="T31" fmla="*/ 358 h 512"/>
                <a:gd name="T32" fmla="*/ 155 w 512"/>
                <a:gd name="T33" fmla="*/ 343 h 512"/>
                <a:gd name="T34" fmla="*/ 143 w 512"/>
                <a:gd name="T35" fmla="*/ 327 h 512"/>
                <a:gd name="T36" fmla="*/ 153 w 512"/>
                <a:gd name="T37" fmla="*/ 319 h 512"/>
                <a:gd name="T38" fmla="*/ 194 w 512"/>
                <a:gd name="T39" fmla="*/ 263 h 512"/>
                <a:gd name="T40" fmla="*/ 105 w 512"/>
                <a:gd name="T41" fmla="*/ 234 h 512"/>
                <a:gd name="T42" fmla="*/ 96 w 512"/>
                <a:gd name="T43" fmla="*/ 246 h 512"/>
                <a:gd name="T44" fmla="*/ 107 w 512"/>
                <a:gd name="T45" fmla="*/ 256 h 512"/>
                <a:gd name="T46" fmla="*/ 174 w 512"/>
                <a:gd name="T47" fmla="*/ 269 h 512"/>
                <a:gd name="T48" fmla="*/ 145 w 512"/>
                <a:gd name="T49" fmla="*/ 299 h 512"/>
                <a:gd name="T50" fmla="*/ 122 w 512"/>
                <a:gd name="T51" fmla="*/ 326 h 512"/>
                <a:gd name="T52" fmla="*/ 143 w 512"/>
                <a:gd name="T53" fmla="*/ 360 h 512"/>
                <a:gd name="T54" fmla="*/ 416 w 512"/>
                <a:gd name="T55" fmla="*/ 191 h 512"/>
                <a:gd name="T56" fmla="*/ 407 w 512"/>
                <a:gd name="T57" fmla="*/ 173 h 512"/>
                <a:gd name="T58" fmla="*/ 368 w 512"/>
                <a:gd name="T59" fmla="*/ 171 h 512"/>
                <a:gd name="T60" fmla="*/ 230 w 512"/>
                <a:gd name="T61" fmla="*/ 309 h 512"/>
                <a:gd name="T62" fmla="*/ 182 w 512"/>
                <a:gd name="T63" fmla="*/ 348 h 512"/>
                <a:gd name="T64" fmla="*/ 150 w 512"/>
                <a:gd name="T65" fmla="*/ 373 h 512"/>
                <a:gd name="T66" fmla="*/ 139 w 512"/>
                <a:gd name="T67" fmla="*/ 381 h 512"/>
                <a:gd name="T68" fmla="*/ 145 w 512"/>
                <a:gd name="T69" fmla="*/ 394 h 512"/>
                <a:gd name="T70" fmla="*/ 212 w 512"/>
                <a:gd name="T71" fmla="*/ 406 h 512"/>
                <a:gd name="T72" fmla="*/ 255 w 512"/>
                <a:gd name="T73" fmla="*/ 395 h 512"/>
                <a:gd name="T74" fmla="*/ 277 w 512"/>
                <a:gd name="T75" fmla="*/ 352 h 512"/>
                <a:gd name="T76" fmla="*/ 277 w 512"/>
                <a:gd name="T77" fmla="*/ 346 h 512"/>
                <a:gd name="T78" fmla="*/ 409 w 512"/>
                <a:gd name="T79" fmla="*/ 211 h 512"/>
                <a:gd name="T80" fmla="*/ 416 w 512"/>
                <a:gd name="T81" fmla="*/ 191 h 512"/>
                <a:gd name="T82" fmla="*/ 234 w 512"/>
                <a:gd name="T83" fmla="*/ 330 h 512"/>
                <a:gd name="T84" fmla="*/ 202 w 512"/>
                <a:gd name="T85" fmla="*/ 355 h 512"/>
                <a:gd name="T86" fmla="*/ 185 w 512"/>
                <a:gd name="T87" fmla="*/ 382 h 512"/>
                <a:gd name="T88" fmla="*/ 243 w 512"/>
                <a:gd name="T89" fmla="*/ 377 h 512"/>
                <a:gd name="T90" fmla="*/ 256 w 512"/>
                <a:gd name="T91" fmla="*/ 351 h 512"/>
                <a:gd name="T92" fmla="*/ 250 w 512"/>
                <a:gd name="T93" fmla="*/ 338 h 512"/>
                <a:gd name="T94" fmla="*/ 234 w 512"/>
                <a:gd name="T95" fmla="*/ 33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12" h="512">
                  <a:moveTo>
                    <a:pt x="392" y="188"/>
                  </a:moveTo>
                  <a:cubicBezTo>
                    <a:pt x="393" y="189"/>
                    <a:pt x="394" y="191"/>
                    <a:pt x="394" y="193"/>
                  </a:cubicBezTo>
                  <a:cubicBezTo>
                    <a:pt x="394" y="194"/>
                    <a:pt x="394" y="195"/>
                    <a:pt x="393" y="196"/>
                  </a:cubicBezTo>
                  <a:cubicBezTo>
                    <a:pt x="267" y="325"/>
                    <a:pt x="267" y="325"/>
                    <a:pt x="267" y="325"/>
                  </a:cubicBezTo>
                  <a:cubicBezTo>
                    <a:pt x="267" y="324"/>
                    <a:pt x="266" y="324"/>
                    <a:pt x="266" y="323"/>
                  </a:cubicBezTo>
                  <a:cubicBezTo>
                    <a:pt x="263" y="320"/>
                    <a:pt x="259" y="317"/>
                    <a:pt x="254" y="315"/>
                  </a:cubicBezTo>
                  <a:cubicBezTo>
                    <a:pt x="383" y="186"/>
                    <a:pt x="383" y="186"/>
                    <a:pt x="383" y="186"/>
                  </a:cubicBezTo>
                  <a:cubicBezTo>
                    <a:pt x="385" y="184"/>
                    <a:pt x="389" y="185"/>
                    <a:pt x="392" y="188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143" y="360"/>
                  </a:moveTo>
                  <a:cubicBezTo>
                    <a:pt x="145" y="362"/>
                    <a:pt x="147" y="362"/>
                    <a:pt x="149" y="362"/>
                  </a:cubicBezTo>
                  <a:cubicBezTo>
                    <a:pt x="152" y="362"/>
                    <a:pt x="156" y="361"/>
                    <a:pt x="158" y="358"/>
                  </a:cubicBezTo>
                  <a:cubicBezTo>
                    <a:pt x="161" y="353"/>
                    <a:pt x="160" y="346"/>
                    <a:pt x="155" y="343"/>
                  </a:cubicBezTo>
                  <a:cubicBezTo>
                    <a:pt x="151" y="340"/>
                    <a:pt x="143" y="332"/>
                    <a:pt x="143" y="327"/>
                  </a:cubicBezTo>
                  <a:cubicBezTo>
                    <a:pt x="143" y="325"/>
                    <a:pt x="147" y="322"/>
                    <a:pt x="153" y="319"/>
                  </a:cubicBezTo>
                  <a:cubicBezTo>
                    <a:pt x="183" y="305"/>
                    <a:pt x="200" y="283"/>
                    <a:pt x="194" y="263"/>
                  </a:cubicBezTo>
                  <a:cubicBezTo>
                    <a:pt x="191" y="250"/>
                    <a:pt x="175" y="228"/>
                    <a:pt x="105" y="234"/>
                  </a:cubicBezTo>
                  <a:cubicBezTo>
                    <a:pt x="100" y="235"/>
                    <a:pt x="95" y="240"/>
                    <a:pt x="96" y="246"/>
                  </a:cubicBezTo>
                  <a:cubicBezTo>
                    <a:pt x="96" y="252"/>
                    <a:pt x="101" y="256"/>
                    <a:pt x="107" y="256"/>
                  </a:cubicBezTo>
                  <a:cubicBezTo>
                    <a:pt x="156" y="251"/>
                    <a:pt x="172" y="262"/>
                    <a:pt x="174" y="269"/>
                  </a:cubicBezTo>
                  <a:cubicBezTo>
                    <a:pt x="176" y="276"/>
                    <a:pt x="165" y="290"/>
                    <a:pt x="145" y="299"/>
                  </a:cubicBezTo>
                  <a:cubicBezTo>
                    <a:pt x="130" y="306"/>
                    <a:pt x="123" y="315"/>
                    <a:pt x="122" y="326"/>
                  </a:cubicBezTo>
                  <a:cubicBezTo>
                    <a:pt x="120" y="344"/>
                    <a:pt x="141" y="359"/>
                    <a:pt x="143" y="360"/>
                  </a:cubicBezTo>
                  <a:close/>
                  <a:moveTo>
                    <a:pt x="416" y="191"/>
                  </a:moveTo>
                  <a:cubicBezTo>
                    <a:pt x="415" y="185"/>
                    <a:pt x="412" y="178"/>
                    <a:pt x="407" y="173"/>
                  </a:cubicBezTo>
                  <a:cubicBezTo>
                    <a:pt x="396" y="162"/>
                    <a:pt x="378" y="161"/>
                    <a:pt x="368" y="171"/>
                  </a:cubicBezTo>
                  <a:cubicBezTo>
                    <a:pt x="230" y="309"/>
                    <a:pt x="230" y="309"/>
                    <a:pt x="230" y="309"/>
                  </a:cubicBezTo>
                  <a:cubicBezTo>
                    <a:pt x="217" y="310"/>
                    <a:pt x="193" y="314"/>
                    <a:pt x="182" y="348"/>
                  </a:cubicBezTo>
                  <a:cubicBezTo>
                    <a:pt x="173" y="374"/>
                    <a:pt x="152" y="373"/>
                    <a:pt x="150" y="373"/>
                  </a:cubicBezTo>
                  <a:cubicBezTo>
                    <a:pt x="145" y="372"/>
                    <a:pt x="140" y="376"/>
                    <a:pt x="139" y="381"/>
                  </a:cubicBezTo>
                  <a:cubicBezTo>
                    <a:pt x="137" y="386"/>
                    <a:pt x="140" y="392"/>
                    <a:pt x="145" y="394"/>
                  </a:cubicBezTo>
                  <a:cubicBezTo>
                    <a:pt x="147" y="394"/>
                    <a:pt x="179" y="406"/>
                    <a:pt x="212" y="406"/>
                  </a:cubicBezTo>
                  <a:cubicBezTo>
                    <a:pt x="227" y="406"/>
                    <a:pt x="243" y="403"/>
                    <a:pt x="255" y="395"/>
                  </a:cubicBezTo>
                  <a:cubicBezTo>
                    <a:pt x="269" y="386"/>
                    <a:pt x="276" y="372"/>
                    <a:pt x="277" y="352"/>
                  </a:cubicBezTo>
                  <a:cubicBezTo>
                    <a:pt x="277" y="350"/>
                    <a:pt x="277" y="348"/>
                    <a:pt x="277" y="346"/>
                  </a:cubicBezTo>
                  <a:cubicBezTo>
                    <a:pt x="409" y="211"/>
                    <a:pt x="409" y="211"/>
                    <a:pt x="409" y="211"/>
                  </a:cubicBezTo>
                  <a:cubicBezTo>
                    <a:pt x="414" y="206"/>
                    <a:pt x="416" y="199"/>
                    <a:pt x="416" y="191"/>
                  </a:cubicBezTo>
                  <a:close/>
                  <a:moveTo>
                    <a:pt x="234" y="330"/>
                  </a:moveTo>
                  <a:cubicBezTo>
                    <a:pt x="222" y="331"/>
                    <a:pt x="209" y="334"/>
                    <a:pt x="202" y="355"/>
                  </a:cubicBezTo>
                  <a:cubicBezTo>
                    <a:pt x="198" y="367"/>
                    <a:pt x="192" y="376"/>
                    <a:pt x="185" y="382"/>
                  </a:cubicBezTo>
                  <a:cubicBezTo>
                    <a:pt x="205" y="386"/>
                    <a:pt x="229" y="387"/>
                    <a:pt x="243" y="377"/>
                  </a:cubicBezTo>
                  <a:cubicBezTo>
                    <a:pt x="251" y="372"/>
                    <a:pt x="255" y="364"/>
                    <a:pt x="256" y="351"/>
                  </a:cubicBezTo>
                  <a:cubicBezTo>
                    <a:pt x="256" y="346"/>
                    <a:pt x="254" y="342"/>
                    <a:pt x="250" y="338"/>
                  </a:cubicBezTo>
                  <a:cubicBezTo>
                    <a:pt x="246" y="333"/>
                    <a:pt x="239" y="330"/>
                    <a:pt x="234" y="33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09E05841-37AA-4CE9-93E0-80BD06ACE35B}"/>
                </a:ext>
              </a:extLst>
            </p:cNvPr>
            <p:cNvSpPr txBox="1"/>
            <p:nvPr/>
          </p:nvSpPr>
          <p:spPr>
            <a:xfrm>
              <a:off x="7216131" y="3655893"/>
              <a:ext cx="674266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400" b="1" dirty="0"/>
                <a:t>Fake</a:t>
              </a:r>
            </a:p>
          </p:txBody>
        </p:sp>
        <p:sp>
          <p:nvSpPr>
            <p:cNvPr id="182" name="Freeform 142">
              <a:extLst>
                <a:ext uri="{FF2B5EF4-FFF2-40B4-BE49-F238E27FC236}">
                  <a16:creationId xmlns:a16="http://schemas.microsoft.com/office/drawing/2014/main" id="{2483B7C1-DBF0-4A25-90D9-FA88DA78DB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6228" y="1702265"/>
              <a:ext cx="139682" cy="229554"/>
            </a:xfrm>
            <a:custGeom>
              <a:avLst/>
              <a:gdLst>
                <a:gd name="T0" fmla="*/ 190 w 194"/>
                <a:gd name="T1" fmla="*/ 216 h 320"/>
                <a:gd name="T2" fmla="*/ 174 w 194"/>
                <a:gd name="T3" fmla="*/ 216 h 320"/>
                <a:gd name="T4" fmla="*/ 107 w 194"/>
                <a:gd name="T5" fmla="*/ 283 h 320"/>
                <a:gd name="T6" fmla="*/ 107 w 194"/>
                <a:gd name="T7" fmla="*/ 10 h 320"/>
                <a:gd name="T8" fmla="*/ 97 w 194"/>
                <a:gd name="T9" fmla="*/ 0 h 320"/>
                <a:gd name="T10" fmla="*/ 86 w 194"/>
                <a:gd name="T11" fmla="*/ 10 h 320"/>
                <a:gd name="T12" fmla="*/ 86 w 194"/>
                <a:gd name="T13" fmla="*/ 283 h 320"/>
                <a:gd name="T14" fmla="*/ 19 w 194"/>
                <a:gd name="T15" fmla="*/ 216 h 320"/>
                <a:gd name="T16" fmla="*/ 4 w 194"/>
                <a:gd name="T17" fmla="*/ 216 h 320"/>
                <a:gd name="T18" fmla="*/ 4 w 194"/>
                <a:gd name="T19" fmla="*/ 231 h 320"/>
                <a:gd name="T20" fmla="*/ 89 w 194"/>
                <a:gd name="T21" fmla="*/ 317 h 320"/>
                <a:gd name="T22" fmla="*/ 93 w 194"/>
                <a:gd name="T23" fmla="*/ 319 h 320"/>
                <a:gd name="T24" fmla="*/ 97 w 194"/>
                <a:gd name="T25" fmla="*/ 320 h 320"/>
                <a:gd name="T26" fmla="*/ 101 w 194"/>
                <a:gd name="T27" fmla="*/ 319 h 320"/>
                <a:gd name="T28" fmla="*/ 104 w 194"/>
                <a:gd name="T29" fmla="*/ 317 h 320"/>
                <a:gd name="T30" fmla="*/ 190 w 194"/>
                <a:gd name="T31" fmla="*/ 231 h 320"/>
                <a:gd name="T32" fmla="*/ 190 w 194"/>
                <a:gd name="T33" fmla="*/ 21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4" h="320">
                  <a:moveTo>
                    <a:pt x="190" y="216"/>
                  </a:moveTo>
                  <a:cubicBezTo>
                    <a:pt x="185" y="212"/>
                    <a:pt x="179" y="212"/>
                    <a:pt x="174" y="216"/>
                  </a:cubicBezTo>
                  <a:cubicBezTo>
                    <a:pt x="107" y="283"/>
                    <a:pt x="107" y="283"/>
                    <a:pt x="107" y="283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4"/>
                    <a:pt x="103" y="0"/>
                    <a:pt x="97" y="0"/>
                  </a:cubicBezTo>
                  <a:cubicBezTo>
                    <a:pt x="91" y="0"/>
                    <a:pt x="86" y="4"/>
                    <a:pt x="86" y="10"/>
                  </a:cubicBezTo>
                  <a:cubicBezTo>
                    <a:pt x="86" y="283"/>
                    <a:pt x="86" y="283"/>
                    <a:pt x="86" y="283"/>
                  </a:cubicBezTo>
                  <a:cubicBezTo>
                    <a:pt x="19" y="216"/>
                    <a:pt x="19" y="216"/>
                    <a:pt x="19" y="216"/>
                  </a:cubicBezTo>
                  <a:cubicBezTo>
                    <a:pt x="15" y="212"/>
                    <a:pt x="8" y="212"/>
                    <a:pt x="4" y="216"/>
                  </a:cubicBezTo>
                  <a:cubicBezTo>
                    <a:pt x="0" y="220"/>
                    <a:pt x="0" y="227"/>
                    <a:pt x="4" y="231"/>
                  </a:cubicBezTo>
                  <a:cubicBezTo>
                    <a:pt x="89" y="317"/>
                    <a:pt x="89" y="317"/>
                    <a:pt x="89" y="317"/>
                  </a:cubicBezTo>
                  <a:cubicBezTo>
                    <a:pt x="90" y="318"/>
                    <a:pt x="91" y="318"/>
                    <a:pt x="93" y="319"/>
                  </a:cubicBezTo>
                  <a:cubicBezTo>
                    <a:pt x="94" y="319"/>
                    <a:pt x="95" y="320"/>
                    <a:pt x="97" y="320"/>
                  </a:cubicBezTo>
                  <a:cubicBezTo>
                    <a:pt x="98" y="320"/>
                    <a:pt x="99" y="319"/>
                    <a:pt x="101" y="319"/>
                  </a:cubicBezTo>
                  <a:cubicBezTo>
                    <a:pt x="102" y="318"/>
                    <a:pt x="103" y="318"/>
                    <a:pt x="104" y="317"/>
                  </a:cubicBezTo>
                  <a:cubicBezTo>
                    <a:pt x="190" y="231"/>
                    <a:pt x="190" y="231"/>
                    <a:pt x="190" y="231"/>
                  </a:cubicBezTo>
                  <a:cubicBezTo>
                    <a:pt x="194" y="227"/>
                    <a:pt x="194" y="220"/>
                    <a:pt x="190" y="216"/>
                  </a:cubicBezTo>
                  <a:close/>
                </a:path>
              </a:pathLst>
            </a:custGeom>
            <a:solidFill>
              <a:schemeClr val="accent2"/>
            </a:solidFill>
            <a:ln>
              <a:solidFill>
                <a:srgbClr val="046A38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4" name="Freeform 142">
              <a:extLst>
                <a:ext uri="{FF2B5EF4-FFF2-40B4-BE49-F238E27FC236}">
                  <a16:creationId xmlns:a16="http://schemas.microsoft.com/office/drawing/2014/main" id="{94832D77-BE72-4FDD-8187-FD2E15EDB0C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6228" y="2774858"/>
              <a:ext cx="139682" cy="229554"/>
            </a:xfrm>
            <a:custGeom>
              <a:avLst/>
              <a:gdLst>
                <a:gd name="T0" fmla="*/ 190 w 194"/>
                <a:gd name="T1" fmla="*/ 216 h 320"/>
                <a:gd name="T2" fmla="*/ 174 w 194"/>
                <a:gd name="T3" fmla="*/ 216 h 320"/>
                <a:gd name="T4" fmla="*/ 107 w 194"/>
                <a:gd name="T5" fmla="*/ 283 h 320"/>
                <a:gd name="T6" fmla="*/ 107 w 194"/>
                <a:gd name="T7" fmla="*/ 10 h 320"/>
                <a:gd name="T8" fmla="*/ 97 w 194"/>
                <a:gd name="T9" fmla="*/ 0 h 320"/>
                <a:gd name="T10" fmla="*/ 86 w 194"/>
                <a:gd name="T11" fmla="*/ 10 h 320"/>
                <a:gd name="T12" fmla="*/ 86 w 194"/>
                <a:gd name="T13" fmla="*/ 283 h 320"/>
                <a:gd name="T14" fmla="*/ 19 w 194"/>
                <a:gd name="T15" fmla="*/ 216 h 320"/>
                <a:gd name="T16" fmla="*/ 4 w 194"/>
                <a:gd name="T17" fmla="*/ 216 h 320"/>
                <a:gd name="T18" fmla="*/ 4 w 194"/>
                <a:gd name="T19" fmla="*/ 231 h 320"/>
                <a:gd name="T20" fmla="*/ 89 w 194"/>
                <a:gd name="T21" fmla="*/ 317 h 320"/>
                <a:gd name="T22" fmla="*/ 93 w 194"/>
                <a:gd name="T23" fmla="*/ 319 h 320"/>
                <a:gd name="T24" fmla="*/ 97 w 194"/>
                <a:gd name="T25" fmla="*/ 320 h 320"/>
                <a:gd name="T26" fmla="*/ 101 w 194"/>
                <a:gd name="T27" fmla="*/ 319 h 320"/>
                <a:gd name="T28" fmla="*/ 104 w 194"/>
                <a:gd name="T29" fmla="*/ 317 h 320"/>
                <a:gd name="T30" fmla="*/ 190 w 194"/>
                <a:gd name="T31" fmla="*/ 231 h 320"/>
                <a:gd name="T32" fmla="*/ 190 w 194"/>
                <a:gd name="T33" fmla="*/ 21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4" h="320">
                  <a:moveTo>
                    <a:pt x="190" y="216"/>
                  </a:moveTo>
                  <a:cubicBezTo>
                    <a:pt x="185" y="212"/>
                    <a:pt x="179" y="212"/>
                    <a:pt x="174" y="216"/>
                  </a:cubicBezTo>
                  <a:cubicBezTo>
                    <a:pt x="107" y="283"/>
                    <a:pt x="107" y="283"/>
                    <a:pt x="107" y="283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4"/>
                    <a:pt x="103" y="0"/>
                    <a:pt x="97" y="0"/>
                  </a:cubicBezTo>
                  <a:cubicBezTo>
                    <a:pt x="91" y="0"/>
                    <a:pt x="86" y="4"/>
                    <a:pt x="86" y="10"/>
                  </a:cubicBezTo>
                  <a:cubicBezTo>
                    <a:pt x="86" y="283"/>
                    <a:pt x="86" y="283"/>
                    <a:pt x="86" y="283"/>
                  </a:cubicBezTo>
                  <a:cubicBezTo>
                    <a:pt x="19" y="216"/>
                    <a:pt x="19" y="216"/>
                    <a:pt x="19" y="216"/>
                  </a:cubicBezTo>
                  <a:cubicBezTo>
                    <a:pt x="15" y="212"/>
                    <a:pt x="8" y="212"/>
                    <a:pt x="4" y="216"/>
                  </a:cubicBezTo>
                  <a:cubicBezTo>
                    <a:pt x="0" y="220"/>
                    <a:pt x="0" y="227"/>
                    <a:pt x="4" y="231"/>
                  </a:cubicBezTo>
                  <a:cubicBezTo>
                    <a:pt x="89" y="317"/>
                    <a:pt x="89" y="317"/>
                    <a:pt x="89" y="317"/>
                  </a:cubicBezTo>
                  <a:cubicBezTo>
                    <a:pt x="90" y="318"/>
                    <a:pt x="91" y="318"/>
                    <a:pt x="93" y="319"/>
                  </a:cubicBezTo>
                  <a:cubicBezTo>
                    <a:pt x="94" y="319"/>
                    <a:pt x="95" y="320"/>
                    <a:pt x="97" y="320"/>
                  </a:cubicBezTo>
                  <a:cubicBezTo>
                    <a:pt x="98" y="320"/>
                    <a:pt x="99" y="319"/>
                    <a:pt x="101" y="319"/>
                  </a:cubicBezTo>
                  <a:cubicBezTo>
                    <a:pt x="102" y="318"/>
                    <a:pt x="103" y="318"/>
                    <a:pt x="104" y="317"/>
                  </a:cubicBezTo>
                  <a:cubicBezTo>
                    <a:pt x="190" y="231"/>
                    <a:pt x="190" y="231"/>
                    <a:pt x="190" y="231"/>
                  </a:cubicBezTo>
                  <a:cubicBezTo>
                    <a:pt x="194" y="227"/>
                    <a:pt x="194" y="220"/>
                    <a:pt x="190" y="216"/>
                  </a:cubicBezTo>
                  <a:close/>
                </a:path>
              </a:pathLst>
            </a:custGeom>
            <a:solidFill>
              <a:schemeClr val="accent2"/>
            </a:solidFill>
            <a:ln w="12700">
              <a:solidFill>
                <a:srgbClr val="046A38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100" name="Group 750">
              <a:extLst>
                <a:ext uri="{FF2B5EF4-FFF2-40B4-BE49-F238E27FC236}">
                  <a16:creationId xmlns:a16="http://schemas.microsoft.com/office/drawing/2014/main" id="{C76A1C10-AE5D-4251-9F21-D88A57BF25B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52078" y="3056393"/>
              <a:ext cx="744477" cy="744477"/>
              <a:chOff x="6961" y="3142"/>
              <a:chExt cx="340" cy="340"/>
            </a:xfrm>
            <a:solidFill>
              <a:schemeClr val="accent2"/>
            </a:solidFill>
          </p:grpSpPr>
          <p:sp>
            <p:nvSpPr>
              <p:cNvPr id="103" name="Freeform 751">
                <a:extLst>
                  <a:ext uri="{FF2B5EF4-FFF2-40B4-BE49-F238E27FC236}">
                    <a16:creationId xmlns:a16="http://schemas.microsoft.com/office/drawing/2014/main" id="{7DAA983E-D0D7-44B2-BDD8-6A859C2119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1" y="3142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5" name="Freeform 752">
                <a:extLst>
                  <a:ext uri="{FF2B5EF4-FFF2-40B4-BE49-F238E27FC236}">
                    <a16:creationId xmlns:a16="http://schemas.microsoft.com/office/drawing/2014/main" id="{566D3C42-C06F-4A3B-9CBB-2612BE4B96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37" y="3206"/>
                <a:ext cx="187" cy="185"/>
              </a:xfrm>
              <a:custGeom>
                <a:avLst/>
                <a:gdLst>
                  <a:gd name="T0" fmla="*/ 274 w 281"/>
                  <a:gd name="T1" fmla="*/ 257 h 279"/>
                  <a:gd name="T2" fmla="*/ 228 w 281"/>
                  <a:gd name="T3" fmla="*/ 246 h 279"/>
                  <a:gd name="T4" fmla="*/ 204 w 281"/>
                  <a:gd name="T5" fmla="*/ 242 h 279"/>
                  <a:gd name="T6" fmla="*/ 187 w 281"/>
                  <a:gd name="T7" fmla="*/ 194 h 279"/>
                  <a:gd name="T8" fmla="*/ 217 w 281"/>
                  <a:gd name="T9" fmla="*/ 126 h 279"/>
                  <a:gd name="T10" fmla="*/ 209 w 281"/>
                  <a:gd name="T11" fmla="*/ 28 h 279"/>
                  <a:gd name="T12" fmla="*/ 141 w 281"/>
                  <a:gd name="T13" fmla="*/ 0 h 279"/>
                  <a:gd name="T14" fmla="*/ 72 w 281"/>
                  <a:gd name="T15" fmla="*/ 28 h 279"/>
                  <a:gd name="T16" fmla="*/ 65 w 281"/>
                  <a:gd name="T17" fmla="*/ 126 h 279"/>
                  <a:gd name="T18" fmla="*/ 94 w 281"/>
                  <a:gd name="T19" fmla="*/ 193 h 279"/>
                  <a:gd name="T20" fmla="*/ 77 w 281"/>
                  <a:gd name="T21" fmla="*/ 242 h 279"/>
                  <a:gd name="T22" fmla="*/ 53 w 281"/>
                  <a:gd name="T23" fmla="*/ 246 h 279"/>
                  <a:gd name="T24" fmla="*/ 7 w 281"/>
                  <a:gd name="T25" fmla="*/ 257 h 279"/>
                  <a:gd name="T26" fmla="*/ 3 w 281"/>
                  <a:gd name="T27" fmla="*/ 272 h 279"/>
                  <a:gd name="T28" fmla="*/ 18 w 281"/>
                  <a:gd name="T29" fmla="*/ 276 h 279"/>
                  <a:gd name="T30" fmla="*/ 56 w 281"/>
                  <a:gd name="T31" fmla="*/ 267 h 279"/>
                  <a:gd name="T32" fmla="*/ 87 w 281"/>
                  <a:gd name="T33" fmla="*/ 261 h 279"/>
                  <a:gd name="T34" fmla="*/ 113 w 281"/>
                  <a:gd name="T35" fmla="*/ 219 h 279"/>
                  <a:gd name="T36" fmla="*/ 112 w 281"/>
                  <a:gd name="T37" fmla="*/ 182 h 279"/>
                  <a:gd name="T38" fmla="*/ 85 w 281"/>
                  <a:gd name="T39" fmla="*/ 120 h 279"/>
                  <a:gd name="T40" fmla="*/ 80 w 281"/>
                  <a:gd name="T41" fmla="*/ 63 h 279"/>
                  <a:gd name="T42" fmla="*/ 125 w 281"/>
                  <a:gd name="T43" fmla="*/ 79 h 279"/>
                  <a:gd name="T44" fmla="*/ 155 w 281"/>
                  <a:gd name="T45" fmla="*/ 74 h 279"/>
                  <a:gd name="T46" fmla="*/ 159 w 281"/>
                  <a:gd name="T47" fmla="*/ 71 h 279"/>
                  <a:gd name="T48" fmla="*/ 162 w 281"/>
                  <a:gd name="T49" fmla="*/ 68 h 279"/>
                  <a:gd name="T50" fmla="*/ 165 w 281"/>
                  <a:gd name="T51" fmla="*/ 71 h 279"/>
                  <a:gd name="T52" fmla="*/ 172 w 281"/>
                  <a:gd name="T53" fmla="*/ 74 h 279"/>
                  <a:gd name="T54" fmla="*/ 201 w 281"/>
                  <a:gd name="T55" fmla="*/ 63 h 279"/>
                  <a:gd name="T56" fmla="*/ 196 w 281"/>
                  <a:gd name="T57" fmla="*/ 120 h 279"/>
                  <a:gd name="T58" fmla="*/ 170 w 281"/>
                  <a:gd name="T59" fmla="*/ 182 h 279"/>
                  <a:gd name="T60" fmla="*/ 169 w 281"/>
                  <a:gd name="T61" fmla="*/ 219 h 279"/>
                  <a:gd name="T62" fmla="*/ 194 w 281"/>
                  <a:gd name="T63" fmla="*/ 261 h 279"/>
                  <a:gd name="T64" fmla="*/ 226 w 281"/>
                  <a:gd name="T65" fmla="*/ 267 h 279"/>
                  <a:gd name="T66" fmla="*/ 263 w 281"/>
                  <a:gd name="T67" fmla="*/ 276 h 279"/>
                  <a:gd name="T68" fmla="*/ 269 w 281"/>
                  <a:gd name="T69" fmla="*/ 277 h 279"/>
                  <a:gd name="T70" fmla="*/ 278 w 281"/>
                  <a:gd name="T71" fmla="*/ 272 h 279"/>
                  <a:gd name="T72" fmla="*/ 274 w 281"/>
                  <a:gd name="T73" fmla="*/ 257 h 279"/>
                  <a:gd name="T74" fmla="*/ 177 w 281"/>
                  <a:gd name="T75" fmla="*/ 53 h 279"/>
                  <a:gd name="T76" fmla="*/ 170 w 281"/>
                  <a:gd name="T77" fmla="*/ 45 h 279"/>
                  <a:gd name="T78" fmla="*/ 154 w 281"/>
                  <a:gd name="T79" fmla="*/ 45 h 279"/>
                  <a:gd name="T80" fmla="*/ 146 w 281"/>
                  <a:gd name="T81" fmla="*/ 54 h 279"/>
                  <a:gd name="T82" fmla="*/ 89 w 281"/>
                  <a:gd name="T83" fmla="*/ 41 h 279"/>
                  <a:gd name="T84" fmla="*/ 89 w 281"/>
                  <a:gd name="T85" fmla="*/ 41 h 279"/>
                  <a:gd name="T86" fmla="*/ 141 w 281"/>
                  <a:gd name="T87" fmla="*/ 21 h 279"/>
                  <a:gd name="T88" fmla="*/ 192 w 281"/>
                  <a:gd name="T89" fmla="*/ 41 h 279"/>
                  <a:gd name="T90" fmla="*/ 193 w 281"/>
                  <a:gd name="T91" fmla="*/ 41 h 279"/>
                  <a:gd name="T92" fmla="*/ 177 w 281"/>
                  <a:gd name="T93" fmla="*/ 5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81" h="279">
                    <a:moveTo>
                      <a:pt x="274" y="257"/>
                    </a:moveTo>
                    <a:cubicBezTo>
                      <a:pt x="260" y="249"/>
                      <a:pt x="243" y="248"/>
                      <a:pt x="228" y="246"/>
                    </a:cubicBezTo>
                    <a:cubicBezTo>
                      <a:pt x="218" y="245"/>
                      <a:pt x="208" y="244"/>
                      <a:pt x="204" y="242"/>
                    </a:cubicBezTo>
                    <a:cubicBezTo>
                      <a:pt x="193" y="236"/>
                      <a:pt x="184" y="201"/>
                      <a:pt x="187" y="194"/>
                    </a:cubicBezTo>
                    <a:cubicBezTo>
                      <a:pt x="200" y="176"/>
                      <a:pt x="212" y="144"/>
                      <a:pt x="217" y="126"/>
                    </a:cubicBezTo>
                    <a:cubicBezTo>
                      <a:pt x="223" y="102"/>
                      <a:pt x="232" y="58"/>
                      <a:pt x="209" y="28"/>
                    </a:cubicBezTo>
                    <a:cubicBezTo>
                      <a:pt x="195" y="9"/>
                      <a:pt x="172" y="0"/>
                      <a:pt x="141" y="0"/>
                    </a:cubicBezTo>
                    <a:cubicBezTo>
                      <a:pt x="109" y="0"/>
                      <a:pt x="86" y="9"/>
                      <a:pt x="72" y="28"/>
                    </a:cubicBezTo>
                    <a:cubicBezTo>
                      <a:pt x="50" y="58"/>
                      <a:pt x="58" y="102"/>
                      <a:pt x="65" y="126"/>
                    </a:cubicBezTo>
                    <a:cubicBezTo>
                      <a:pt x="70" y="144"/>
                      <a:pt x="82" y="176"/>
                      <a:pt x="94" y="193"/>
                    </a:cubicBezTo>
                    <a:cubicBezTo>
                      <a:pt x="97" y="201"/>
                      <a:pt x="88" y="236"/>
                      <a:pt x="77" y="242"/>
                    </a:cubicBezTo>
                    <a:cubicBezTo>
                      <a:pt x="73" y="244"/>
                      <a:pt x="63" y="245"/>
                      <a:pt x="53" y="246"/>
                    </a:cubicBezTo>
                    <a:cubicBezTo>
                      <a:pt x="38" y="248"/>
                      <a:pt x="21" y="249"/>
                      <a:pt x="7" y="257"/>
                    </a:cubicBezTo>
                    <a:cubicBezTo>
                      <a:pt x="2" y="260"/>
                      <a:pt x="0" y="266"/>
                      <a:pt x="3" y="272"/>
                    </a:cubicBezTo>
                    <a:cubicBezTo>
                      <a:pt x="6" y="277"/>
                      <a:pt x="13" y="279"/>
                      <a:pt x="18" y="276"/>
                    </a:cubicBezTo>
                    <a:cubicBezTo>
                      <a:pt x="28" y="270"/>
                      <a:pt x="43" y="269"/>
                      <a:pt x="56" y="267"/>
                    </a:cubicBezTo>
                    <a:cubicBezTo>
                      <a:pt x="68" y="266"/>
                      <a:pt x="79" y="265"/>
                      <a:pt x="87" y="261"/>
                    </a:cubicBezTo>
                    <a:cubicBezTo>
                      <a:pt x="103" y="252"/>
                      <a:pt x="110" y="229"/>
                      <a:pt x="113" y="219"/>
                    </a:cubicBezTo>
                    <a:cubicBezTo>
                      <a:pt x="115" y="210"/>
                      <a:pt x="118" y="192"/>
                      <a:pt x="112" y="182"/>
                    </a:cubicBezTo>
                    <a:cubicBezTo>
                      <a:pt x="101" y="167"/>
                      <a:pt x="90" y="137"/>
                      <a:pt x="85" y="120"/>
                    </a:cubicBezTo>
                    <a:cubicBezTo>
                      <a:pt x="82" y="109"/>
                      <a:pt x="76" y="84"/>
                      <a:pt x="80" y="63"/>
                    </a:cubicBezTo>
                    <a:cubicBezTo>
                      <a:pt x="94" y="75"/>
                      <a:pt x="110" y="79"/>
                      <a:pt x="125" y="79"/>
                    </a:cubicBezTo>
                    <a:cubicBezTo>
                      <a:pt x="137" y="79"/>
                      <a:pt x="148" y="76"/>
                      <a:pt x="155" y="74"/>
                    </a:cubicBezTo>
                    <a:cubicBezTo>
                      <a:pt x="156" y="73"/>
                      <a:pt x="158" y="72"/>
                      <a:pt x="159" y="71"/>
                    </a:cubicBezTo>
                    <a:cubicBezTo>
                      <a:pt x="162" y="68"/>
                      <a:pt x="162" y="68"/>
                      <a:pt x="162" y="68"/>
                    </a:cubicBezTo>
                    <a:cubicBezTo>
                      <a:pt x="165" y="71"/>
                      <a:pt x="165" y="71"/>
                      <a:pt x="165" y="71"/>
                    </a:cubicBezTo>
                    <a:cubicBezTo>
                      <a:pt x="167" y="73"/>
                      <a:pt x="169" y="74"/>
                      <a:pt x="172" y="74"/>
                    </a:cubicBezTo>
                    <a:cubicBezTo>
                      <a:pt x="173" y="74"/>
                      <a:pt x="187" y="75"/>
                      <a:pt x="201" y="63"/>
                    </a:cubicBezTo>
                    <a:cubicBezTo>
                      <a:pt x="205" y="84"/>
                      <a:pt x="199" y="109"/>
                      <a:pt x="196" y="120"/>
                    </a:cubicBezTo>
                    <a:cubicBezTo>
                      <a:pt x="191" y="137"/>
                      <a:pt x="180" y="167"/>
                      <a:pt x="170" y="182"/>
                    </a:cubicBezTo>
                    <a:cubicBezTo>
                      <a:pt x="163" y="192"/>
                      <a:pt x="166" y="210"/>
                      <a:pt x="169" y="219"/>
                    </a:cubicBezTo>
                    <a:cubicBezTo>
                      <a:pt x="171" y="229"/>
                      <a:pt x="178" y="252"/>
                      <a:pt x="194" y="261"/>
                    </a:cubicBezTo>
                    <a:cubicBezTo>
                      <a:pt x="202" y="265"/>
                      <a:pt x="213" y="266"/>
                      <a:pt x="226" y="267"/>
                    </a:cubicBezTo>
                    <a:cubicBezTo>
                      <a:pt x="239" y="269"/>
                      <a:pt x="254" y="270"/>
                      <a:pt x="263" y="276"/>
                    </a:cubicBezTo>
                    <a:cubicBezTo>
                      <a:pt x="265" y="277"/>
                      <a:pt x="267" y="277"/>
                      <a:pt x="269" y="277"/>
                    </a:cubicBezTo>
                    <a:cubicBezTo>
                      <a:pt x="272" y="277"/>
                      <a:pt x="276" y="275"/>
                      <a:pt x="278" y="272"/>
                    </a:cubicBezTo>
                    <a:cubicBezTo>
                      <a:pt x="281" y="266"/>
                      <a:pt x="279" y="260"/>
                      <a:pt x="274" y="257"/>
                    </a:cubicBezTo>
                    <a:close/>
                    <a:moveTo>
                      <a:pt x="177" y="53"/>
                    </a:moveTo>
                    <a:cubicBezTo>
                      <a:pt x="170" y="45"/>
                      <a:pt x="170" y="45"/>
                      <a:pt x="170" y="45"/>
                    </a:cubicBezTo>
                    <a:cubicBezTo>
                      <a:pt x="165" y="41"/>
                      <a:pt x="159" y="41"/>
                      <a:pt x="154" y="45"/>
                    </a:cubicBezTo>
                    <a:cubicBezTo>
                      <a:pt x="146" y="54"/>
                      <a:pt x="146" y="54"/>
                      <a:pt x="146" y="54"/>
                    </a:cubicBezTo>
                    <a:cubicBezTo>
                      <a:pt x="137" y="57"/>
                      <a:pt x="106" y="64"/>
                      <a:pt x="89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9" y="28"/>
                      <a:pt x="116" y="21"/>
                      <a:pt x="141" y="21"/>
                    </a:cubicBezTo>
                    <a:cubicBezTo>
                      <a:pt x="165" y="21"/>
                      <a:pt x="182" y="28"/>
                      <a:pt x="192" y="41"/>
                    </a:cubicBezTo>
                    <a:cubicBezTo>
                      <a:pt x="192" y="41"/>
                      <a:pt x="192" y="41"/>
                      <a:pt x="193" y="41"/>
                    </a:cubicBezTo>
                    <a:cubicBezTo>
                      <a:pt x="187" y="49"/>
                      <a:pt x="180" y="52"/>
                      <a:pt x="177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781D5E8F-AAF9-48C1-BCA8-066B9CF76CA3}"/>
              </a:ext>
            </a:extLst>
          </p:cNvPr>
          <p:cNvGrpSpPr/>
          <p:nvPr/>
        </p:nvGrpSpPr>
        <p:grpSpPr>
          <a:xfrm>
            <a:off x="7324627" y="2435129"/>
            <a:ext cx="2701068" cy="3801037"/>
            <a:chOff x="7324627" y="2435129"/>
            <a:chExt cx="2701068" cy="3801037"/>
          </a:xfrm>
        </p:grpSpPr>
        <p:sp>
          <p:nvSpPr>
            <p:cNvPr id="185" name="Freeform 142">
              <a:extLst>
                <a:ext uri="{FF2B5EF4-FFF2-40B4-BE49-F238E27FC236}">
                  <a16:creationId xmlns:a16="http://schemas.microsoft.com/office/drawing/2014/main" id="{83EDA3BF-ED29-48B2-B35D-78345F038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9027" y="5550157"/>
              <a:ext cx="139682" cy="229554"/>
            </a:xfrm>
            <a:custGeom>
              <a:avLst/>
              <a:gdLst>
                <a:gd name="T0" fmla="*/ 190 w 194"/>
                <a:gd name="T1" fmla="*/ 216 h 320"/>
                <a:gd name="T2" fmla="*/ 174 w 194"/>
                <a:gd name="T3" fmla="*/ 216 h 320"/>
                <a:gd name="T4" fmla="*/ 107 w 194"/>
                <a:gd name="T5" fmla="*/ 283 h 320"/>
                <a:gd name="T6" fmla="*/ 107 w 194"/>
                <a:gd name="T7" fmla="*/ 10 h 320"/>
                <a:gd name="T8" fmla="*/ 97 w 194"/>
                <a:gd name="T9" fmla="*/ 0 h 320"/>
                <a:gd name="T10" fmla="*/ 86 w 194"/>
                <a:gd name="T11" fmla="*/ 10 h 320"/>
                <a:gd name="T12" fmla="*/ 86 w 194"/>
                <a:gd name="T13" fmla="*/ 283 h 320"/>
                <a:gd name="T14" fmla="*/ 19 w 194"/>
                <a:gd name="T15" fmla="*/ 216 h 320"/>
                <a:gd name="T16" fmla="*/ 4 w 194"/>
                <a:gd name="T17" fmla="*/ 216 h 320"/>
                <a:gd name="T18" fmla="*/ 4 w 194"/>
                <a:gd name="T19" fmla="*/ 231 h 320"/>
                <a:gd name="T20" fmla="*/ 89 w 194"/>
                <a:gd name="T21" fmla="*/ 317 h 320"/>
                <a:gd name="T22" fmla="*/ 93 w 194"/>
                <a:gd name="T23" fmla="*/ 319 h 320"/>
                <a:gd name="T24" fmla="*/ 97 w 194"/>
                <a:gd name="T25" fmla="*/ 320 h 320"/>
                <a:gd name="T26" fmla="*/ 101 w 194"/>
                <a:gd name="T27" fmla="*/ 319 h 320"/>
                <a:gd name="T28" fmla="*/ 104 w 194"/>
                <a:gd name="T29" fmla="*/ 317 h 320"/>
                <a:gd name="T30" fmla="*/ 190 w 194"/>
                <a:gd name="T31" fmla="*/ 231 h 320"/>
                <a:gd name="T32" fmla="*/ 190 w 194"/>
                <a:gd name="T33" fmla="*/ 21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4" h="320">
                  <a:moveTo>
                    <a:pt x="190" y="216"/>
                  </a:moveTo>
                  <a:cubicBezTo>
                    <a:pt x="185" y="212"/>
                    <a:pt x="179" y="212"/>
                    <a:pt x="174" y="216"/>
                  </a:cubicBezTo>
                  <a:cubicBezTo>
                    <a:pt x="107" y="283"/>
                    <a:pt x="107" y="283"/>
                    <a:pt x="107" y="283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4"/>
                    <a:pt x="103" y="0"/>
                    <a:pt x="97" y="0"/>
                  </a:cubicBezTo>
                  <a:cubicBezTo>
                    <a:pt x="91" y="0"/>
                    <a:pt x="86" y="4"/>
                    <a:pt x="86" y="10"/>
                  </a:cubicBezTo>
                  <a:cubicBezTo>
                    <a:pt x="86" y="283"/>
                    <a:pt x="86" y="283"/>
                    <a:pt x="86" y="283"/>
                  </a:cubicBezTo>
                  <a:cubicBezTo>
                    <a:pt x="19" y="216"/>
                    <a:pt x="19" y="216"/>
                    <a:pt x="19" y="216"/>
                  </a:cubicBezTo>
                  <a:cubicBezTo>
                    <a:pt x="15" y="212"/>
                    <a:pt x="8" y="212"/>
                    <a:pt x="4" y="216"/>
                  </a:cubicBezTo>
                  <a:cubicBezTo>
                    <a:pt x="0" y="220"/>
                    <a:pt x="0" y="227"/>
                    <a:pt x="4" y="231"/>
                  </a:cubicBezTo>
                  <a:cubicBezTo>
                    <a:pt x="89" y="317"/>
                    <a:pt x="89" y="317"/>
                    <a:pt x="89" y="317"/>
                  </a:cubicBezTo>
                  <a:cubicBezTo>
                    <a:pt x="90" y="318"/>
                    <a:pt x="91" y="318"/>
                    <a:pt x="93" y="319"/>
                  </a:cubicBezTo>
                  <a:cubicBezTo>
                    <a:pt x="94" y="319"/>
                    <a:pt x="95" y="320"/>
                    <a:pt x="97" y="320"/>
                  </a:cubicBezTo>
                  <a:cubicBezTo>
                    <a:pt x="98" y="320"/>
                    <a:pt x="99" y="319"/>
                    <a:pt x="101" y="319"/>
                  </a:cubicBezTo>
                  <a:cubicBezTo>
                    <a:pt x="102" y="318"/>
                    <a:pt x="103" y="318"/>
                    <a:pt x="104" y="317"/>
                  </a:cubicBezTo>
                  <a:cubicBezTo>
                    <a:pt x="190" y="231"/>
                    <a:pt x="190" y="231"/>
                    <a:pt x="190" y="231"/>
                  </a:cubicBezTo>
                  <a:cubicBezTo>
                    <a:pt x="194" y="227"/>
                    <a:pt x="194" y="220"/>
                    <a:pt x="190" y="216"/>
                  </a:cubicBezTo>
                  <a:close/>
                </a:path>
              </a:pathLst>
            </a:custGeom>
            <a:solidFill>
              <a:schemeClr val="accent2"/>
            </a:solidFill>
            <a:ln w="12700">
              <a:solidFill>
                <a:srgbClr val="046A38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9" name="Freeform 124">
              <a:extLst>
                <a:ext uri="{FF2B5EF4-FFF2-40B4-BE49-F238E27FC236}">
                  <a16:creationId xmlns:a16="http://schemas.microsoft.com/office/drawing/2014/main" id="{4C12ADDB-7E3C-46BB-8480-BCE63A4BD41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793486" y="5866490"/>
              <a:ext cx="370763" cy="369676"/>
            </a:xfrm>
            <a:custGeom>
              <a:avLst/>
              <a:gdLst>
                <a:gd name="T0" fmla="*/ 0 w 512"/>
                <a:gd name="T1" fmla="*/ 256 h 512"/>
                <a:gd name="T2" fmla="*/ 512 w 512"/>
                <a:gd name="T3" fmla="*/ 256 h 512"/>
                <a:gd name="T4" fmla="*/ 237 w 512"/>
                <a:gd name="T5" fmla="*/ 342 h 512"/>
                <a:gd name="T6" fmla="*/ 206 w 512"/>
                <a:gd name="T7" fmla="*/ 372 h 512"/>
                <a:gd name="T8" fmla="*/ 198 w 512"/>
                <a:gd name="T9" fmla="*/ 372 h 512"/>
                <a:gd name="T10" fmla="*/ 167 w 512"/>
                <a:gd name="T11" fmla="*/ 342 h 512"/>
                <a:gd name="T12" fmla="*/ 182 w 512"/>
                <a:gd name="T13" fmla="*/ 327 h 512"/>
                <a:gd name="T14" fmla="*/ 192 w 512"/>
                <a:gd name="T15" fmla="*/ 149 h 512"/>
                <a:gd name="T16" fmla="*/ 213 w 512"/>
                <a:gd name="T17" fmla="*/ 149 h 512"/>
                <a:gd name="T18" fmla="*/ 222 w 512"/>
                <a:gd name="T19" fmla="*/ 327 h 512"/>
                <a:gd name="T20" fmla="*/ 237 w 512"/>
                <a:gd name="T21" fmla="*/ 342 h 512"/>
                <a:gd name="T22" fmla="*/ 266 w 512"/>
                <a:gd name="T23" fmla="*/ 373 h 512"/>
                <a:gd name="T24" fmla="*/ 266 w 512"/>
                <a:gd name="T25" fmla="*/ 352 h 512"/>
                <a:gd name="T26" fmla="*/ 288 w 512"/>
                <a:gd name="T27" fmla="*/ 362 h 512"/>
                <a:gd name="T28" fmla="*/ 298 w 512"/>
                <a:gd name="T29" fmla="*/ 330 h 512"/>
                <a:gd name="T30" fmla="*/ 256 w 512"/>
                <a:gd name="T31" fmla="*/ 320 h 512"/>
                <a:gd name="T32" fmla="*/ 298 w 512"/>
                <a:gd name="T33" fmla="*/ 309 h 512"/>
                <a:gd name="T34" fmla="*/ 298 w 512"/>
                <a:gd name="T35" fmla="*/ 330 h 512"/>
                <a:gd name="T36" fmla="*/ 266 w 512"/>
                <a:gd name="T37" fmla="*/ 288 h 512"/>
                <a:gd name="T38" fmla="*/ 266 w 512"/>
                <a:gd name="T39" fmla="*/ 266 h 512"/>
                <a:gd name="T40" fmla="*/ 330 w 512"/>
                <a:gd name="T41" fmla="*/ 277 h 512"/>
                <a:gd name="T42" fmla="*/ 341 w 512"/>
                <a:gd name="T43" fmla="*/ 245 h 512"/>
                <a:gd name="T44" fmla="*/ 256 w 512"/>
                <a:gd name="T45" fmla="*/ 234 h 512"/>
                <a:gd name="T46" fmla="*/ 341 w 512"/>
                <a:gd name="T47" fmla="*/ 224 h 512"/>
                <a:gd name="T48" fmla="*/ 341 w 512"/>
                <a:gd name="T49" fmla="*/ 245 h 512"/>
                <a:gd name="T50" fmla="*/ 266 w 512"/>
                <a:gd name="T51" fmla="*/ 202 h 512"/>
                <a:gd name="T52" fmla="*/ 266 w 512"/>
                <a:gd name="T53" fmla="*/ 181 h 512"/>
                <a:gd name="T54" fmla="*/ 373 w 512"/>
                <a:gd name="T55" fmla="*/ 192 h 512"/>
                <a:gd name="T56" fmla="*/ 378 w 512"/>
                <a:gd name="T57" fmla="*/ 160 h 512"/>
                <a:gd name="T58" fmla="*/ 256 w 512"/>
                <a:gd name="T59" fmla="*/ 149 h 512"/>
                <a:gd name="T60" fmla="*/ 378 w 512"/>
                <a:gd name="T61" fmla="*/ 138 h 512"/>
                <a:gd name="T62" fmla="*/ 378 w 512"/>
                <a:gd name="T63" fmla="*/ 16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37" y="342"/>
                  </a:moveTo>
                  <a:cubicBezTo>
                    <a:pt x="210" y="370"/>
                    <a:pt x="210" y="370"/>
                    <a:pt x="210" y="370"/>
                  </a:cubicBezTo>
                  <a:cubicBezTo>
                    <a:pt x="209" y="371"/>
                    <a:pt x="208" y="372"/>
                    <a:pt x="206" y="372"/>
                  </a:cubicBezTo>
                  <a:cubicBezTo>
                    <a:pt x="205" y="373"/>
                    <a:pt x="204" y="373"/>
                    <a:pt x="202" y="373"/>
                  </a:cubicBezTo>
                  <a:cubicBezTo>
                    <a:pt x="201" y="373"/>
                    <a:pt x="200" y="373"/>
                    <a:pt x="198" y="372"/>
                  </a:cubicBezTo>
                  <a:cubicBezTo>
                    <a:pt x="197" y="372"/>
                    <a:pt x="196" y="371"/>
                    <a:pt x="195" y="370"/>
                  </a:cubicBezTo>
                  <a:cubicBezTo>
                    <a:pt x="167" y="342"/>
                    <a:pt x="167" y="342"/>
                    <a:pt x="167" y="342"/>
                  </a:cubicBezTo>
                  <a:cubicBezTo>
                    <a:pt x="163" y="338"/>
                    <a:pt x="163" y="331"/>
                    <a:pt x="167" y="327"/>
                  </a:cubicBezTo>
                  <a:cubicBezTo>
                    <a:pt x="171" y="323"/>
                    <a:pt x="178" y="323"/>
                    <a:pt x="182" y="327"/>
                  </a:cubicBezTo>
                  <a:cubicBezTo>
                    <a:pt x="192" y="337"/>
                    <a:pt x="192" y="337"/>
                    <a:pt x="192" y="337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2" y="143"/>
                    <a:pt x="196" y="138"/>
                    <a:pt x="202" y="138"/>
                  </a:cubicBezTo>
                  <a:cubicBezTo>
                    <a:pt x="208" y="138"/>
                    <a:pt x="213" y="143"/>
                    <a:pt x="213" y="149"/>
                  </a:cubicBezTo>
                  <a:cubicBezTo>
                    <a:pt x="213" y="337"/>
                    <a:pt x="213" y="337"/>
                    <a:pt x="213" y="337"/>
                  </a:cubicBezTo>
                  <a:cubicBezTo>
                    <a:pt x="222" y="327"/>
                    <a:pt x="222" y="327"/>
                    <a:pt x="222" y="327"/>
                  </a:cubicBezTo>
                  <a:cubicBezTo>
                    <a:pt x="227" y="323"/>
                    <a:pt x="233" y="323"/>
                    <a:pt x="237" y="327"/>
                  </a:cubicBezTo>
                  <a:cubicBezTo>
                    <a:pt x="242" y="331"/>
                    <a:pt x="242" y="338"/>
                    <a:pt x="237" y="342"/>
                  </a:cubicBezTo>
                  <a:close/>
                  <a:moveTo>
                    <a:pt x="277" y="373"/>
                  </a:moveTo>
                  <a:cubicBezTo>
                    <a:pt x="266" y="373"/>
                    <a:pt x="266" y="373"/>
                    <a:pt x="266" y="373"/>
                  </a:cubicBezTo>
                  <a:cubicBezTo>
                    <a:pt x="260" y="373"/>
                    <a:pt x="256" y="368"/>
                    <a:pt x="256" y="362"/>
                  </a:cubicBezTo>
                  <a:cubicBezTo>
                    <a:pt x="256" y="356"/>
                    <a:pt x="260" y="352"/>
                    <a:pt x="266" y="352"/>
                  </a:cubicBezTo>
                  <a:cubicBezTo>
                    <a:pt x="277" y="352"/>
                    <a:pt x="277" y="352"/>
                    <a:pt x="277" y="352"/>
                  </a:cubicBezTo>
                  <a:cubicBezTo>
                    <a:pt x="283" y="352"/>
                    <a:pt x="288" y="356"/>
                    <a:pt x="288" y="362"/>
                  </a:cubicBezTo>
                  <a:cubicBezTo>
                    <a:pt x="288" y="368"/>
                    <a:pt x="283" y="373"/>
                    <a:pt x="277" y="373"/>
                  </a:cubicBezTo>
                  <a:close/>
                  <a:moveTo>
                    <a:pt x="298" y="330"/>
                  </a:moveTo>
                  <a:cubicBezTo>
                    <a:pt x="266" y="330"/>
                    <a:pt x="266" y="330"/>
                    <a:pt x="266" y="330"/>
                  </a:cubicBezTo>
                  <a:cubicBezTo>
                    <a:pt x="260" y="330"/>
                    <a:pt x="256" y="326"/>
                    <a:pt x="256" y="320"/>
                  </a:cubicBezTo>
                  <a:cubicBezTo>
                    <a:pt x="256" y="314"/>
                    <a:pt x="260" y="309"/>
                    <a:pt x="266" y="309"/>
                  </a:cubicBezTo>
                  <a:cubicBezTo>
                    <a:pt x="298" y="309"/>
                    <a:pt x="298" y="309"/>
                    <a:pt x="298" y="309"/>
                  </a:cubicBezTo>
                  <a:cubicBezTo>
                    <a:pt x="304" y="309"/>
                    <a:pt x="309" y="314"/>
                    <a:pt x="309" y="320"/>
                  </a:cubicBezTo>
                  <a:cubicBezTo>
                    <a:pt x="309" y="326"/>
                    <a:pt x="304" y="330"/>
                    <a:pt x="298" y="330"/>
                  </a:cubicBezTo>
                  <a:close/>
                  <a:moveTo>
                    <a:pt x="320" y="288"/>
                  </a:moveTo>
                  <a:cubicBezTo>
                    <a:pt x="266" y="288"/>
                    <a:pt x="266" y="288"/>
                    <a:pt x="266" y="288"/>
                  </a:cubicBezTo>
                  <a:cubicBezTo>
                    <a:pt x="260" y="288"/>
                    <a:pt x="256" y="283"/>
                    <a:pt x="256" y="277"/>
                  </a:cubicBezTo>
                  <a:cubicBezTo>
                    <a:pt x="256" y="271"/>
                    <a:pt x="260" y="266"/>
                    <a:pt x="266" y="266"/>
                  </a:cubicBezTo>
                  <a:cubicBezTo>
                    <a:pt x="320" y="266"/>
                    <a:pt x="320" y="266"/>
                    <a:pt x="320" y="266"/>
                  </a:cubicBezTo>
                  <a:cubicBezTo>
                    <a:pt x="326" y="266"/>
                    <a:pt x="330" y="271"/>
                    <a:pt x="330" y="277"/>
                  </a:cubicBezTo>
                  <a:cubicBezTo>
                    <a:pt x="330" y="283"/>
                    <a:pt x="326" y="288"/>
                    <a:pt x="320" y="288"/>
                  </a:cubicBezTo>
                  <a:close/>
                  <a:moveTo>
                    <a:pt x="341" y="245"/>
                  </a:moveTo>
                  <a:cubicBezTo>
                    <a:pt x="266" y="245"/>
                    <a:pt x="266" y="245"/>
                    <a:pt x="266" y="245"/>
                  </a:cubicBezTo>
                  <a:cubicBezTo>
                    <a:pt x="260" y="245"/>
                    <a:pt x="256" y="240"/>
                    <a:pt x="256" y="234"/>
                  </a:cubicBezTo>
                  <a:cubicBezTo>
                    <a:pt x="256" y="228"/>
                    <a:pt x="260" y="224"/>
                    <a:pt x="266" y="224"/>
                  </a:cubicBezTo>
                  <a:cubicBezTo>
                    <a:pt x="341" y="224"/>
                    <a:pt x="341" y="224"/>
                    <a:pt x="341" y="224"/>
                  </a:cubicBezTo>
                  <a:cubicBezTo>
                    <a:pt x="347" y="224"/>
                    <a:pt x="352" y="228"/>
                    <a:pt x="352" y="234"/>
                  </a:cubicBezTo>
                  <a:cubicBezTo>
                    <a:pt x="352" y="240"/>
                    <a:pt x="347" y="245"/>
                    <a:pt x="341" y="245"/>
                  </a:cubicBezTo>
                  <a:close/>
                  <a:moveTo>
                    <a:pt x="362" y="202"/>
                  </a:moveTo>
                  <a:cubicBezTo>
                    <a:pt x="266" y="202"/>
                    <a:pt x="266" y="202"/>
                    <a:pt x="266" y="202"/>
                  </a:cubicBezTo>
                  <a:cubicBezTo>
                    <a:pt x="260" y="202"/>
                    <a:pt x="256" y="198"/>
                    <a:pt x="256" y="192"/>
                  </a:cubicBezTo>
                  <a:cubicBezTo>
                    <a:pt x="256" y="186"/>
                    <a:pt x="260" y="181"/>
                    <a:pt x="266" y="181"/>
                  </a:cubicBezTo>
                  <a:cubicBezTo>
                    <a:pt x="362" y="181"/>
                    <a:pt x="362" y="181"/>
                    <a:pt x="362" y="181"/>
                  </a:cubicBezTo>
                  <a:cubicBezTo>
                    <a:pt x="368" y="181"/>
                    <a:pt x="373" y="186"/>
                    <a:pt x="373" y="192"/>
                  </a:cubicBezTo>
                  <a:cubicBezTo>
                    <a:pt x="373" y="198"/>
                    <a:pt x="368" y="202"/>
                    <a:pt x="362" y="202"/>
                  </a:cubicBezTo>
                  <a:close/>
                  <a:moveTo>
                    <a:pt x="378" y="160"/>
                  </a:moveTo>
                  <a:cubicBezTo>
                    <a:pt x="266" y="160"/>
                    <a:pt x="266" y="160"/>
                    <a:pt x="266" y="160"/>
                  </a:cubicBezTo>
                  <a:cubicBezTo>
                    <a:pt x="260" y="160"/>
                    <a:pt x="256" y="155"/>
                    <a:pt x="256" y="149"/>
                  </a:cubicBezTo>
                  <a:cubicBezTo>
                    <a:pt x="256" y="143"/>
                    <a:pt x="260" y="138"/>
                    <a:pt x="266" y="138"/>
                  </a:cubicBezTo>
                  <a:cubicBezTo>
                    <a:pt x="378" y="138"/>
                    <a:pt x="378" y="138"/>
                    <a:pt x="378" y="138"/>
                  </a:cubicBezTo>
                  <a:cubicBezTo>
                    <a:pt x="384" y="138"/>
                    <a:pt x="389" y="143"/>
                    <a:pt x="389" y="149"/>
                  </a:cubicBezTo>
                  <a:cubicBezTo>
                    <a:pt x="389" y="155"/>
                    <a:pt x="384" y="160"/>
                    <a:pt x="378" y="160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0" name="TextBox 179">
              <a:extLst>
                <a:ext uri="{FF2B5EF4-FFF2-40B4-BE49-F238E27FC236}">
                  <a16:creationId xmlns:a16="http://schemas.microsoft.com/office/drawing/2014/main" id="{122F9B71-0B1B-4EB9-ABF6-FAC74B84BE8C}"/>
                </a:ext>
              </a:extLst>
            </p:cNvPr>
            <p:cNvSpPr txBox="1"/>
            <p:nvPr/>
          </p:nvSpPr>
          <p:spPr>
            <a:xfrm>
              <a:off x="8767893" y="5780555"/>
              <a:ext cx="1257802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400" b="1" dirty="0"/>
                <a:t>Loss</a:t>
              </a:r>
            </a:p>
          </p:txBody>
        </p:sp>
        <p:cxnSp>
          <p:nvCxnSpPr>
            <p:cNvPr id="47" name="Connector: Elbow 46">
              <a:extLst>
                <a:ext uri="{FF2B5EF4-FFF2-40B4-BE49-F238E27FC236}">
                  <a16:creationId xmlns:a16="http://schemas.microsoft.com/office/drawing/2014/main" id="{74343F99-5533-42FB-9F1E-5C935ACFF102}"/>
                </a:ext>
              </a:extLst>
            </p:cNvPr>
            <p:cNvCxnSpPr>
              <a:cxnSpLocks/>
              <a:stCxn id="179" idx="0"/>
            </p:cNvCxnSpPr>
            <p:nvPr/>
          </p:nvCxnSpPr>
          <p:spPr>
            <a:xfrm flipH="1" flipV="1">
              <a:off x="7324627" y="2435129"/>
              <a:ext cx="1468859" cy="3616199"/>
            </a:xfrm>
            <a:prstGeom prst="bentConnector4">
              <a:avLst>
                <a:gd name="adj1" fmla="val 133971"/>
                <a:gd name="adj2" fmla="val 100000"/>
              </a:avLst>
            </a:prstGeom>
            <a:ln w="25400">
              <a:solidFill>
                <a:schemeClr val="accent2"/>
              </a:solidFill>
              <a:headEnd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Connector: Elbow 191">
              <a:extLst>
                <a:ext uri="{FF2B5EF4-FFF2-40B4-BE49-F238E27FC236}">
                  <a16:creationId xmlns:a16="http://schemas.microsoft.com/office/drawing/2014/main" id="{532F0104-7421-4FAC-885B-240DD23D8320}"/>
                </a:ext>
              </a:extLst>
            </p:cNvPr>
            <p:cNvCxnSpPr>
              <a:cxnSpLocks/>
              <a:stCxn id="179" idx="1"/>
              <a:endCxn id="130" idx="3"/>
            </p:cNvCxnSpPr>
            <p:nvPr/>
          </p:nvCxnSpPr>
          <p:spPr>
            <a:xfrm flipV="1">
              <a:off x="9164249" y="4512282"/>
              <a:ext cx="501383" cy="1539046"/>
            </a:xfrm>
            <a:prstGeom prst="bentConnector3">
              <a:avLst>
                <a:gd name="adj1" fmla="val 336166"/>
              </a:avLst>
            </a:prstGeom>
            <a:ln w="25400">
              <a:solidFill>
                <a:schemeClr val="accent2"/>
              </a:solidFill>
              <a:headEnd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0EF02D86-F36B-413A-AA60-92E060F45355}"/>
                </a:ext>
              </a:extLst>
            </p:cNvPr>
            <p:cNvSpPr/>
            <p:nvPr/>
          </p:nvSpPr>
          <p:spPr bwMode="gray">
            <a:xfrm>
              <a:off x="7634928" y="3055033"/>
              <a:ext cx="760044" cy="752440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74" name="Freeform 747">
              <a:extLst>
                <a:ext uri="{FF2B5EF4-FFF2-40B4-BE49-F238E27FC236}">
                  <a16:creationId xmlns:a16="http://schemas.microsoft.com/office/drawing/2014/main" id="{A1E6227A-DD44-4C4E-AEAA-556CF48133C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652376" y="3048126"/>
              <a:ext cx="744477" cy="744477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77808025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874</TotalTime>
  <Words>40</Words>
  <Application>Microsoft Office PowerPoint</Application>
  <PresentationFormat>Widescreen</PresentationFormat>
  <Paragraphs>3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Open Sans</vt:lpstr>
      <vt:lpstr>Verdana</vt:lpstr>
      <vt:lpstr>Wingdings 2</vt:lpstr>
      <vt:lpstr>Deloitte_US_Onscreen</vt:lpstr>
      <vt:lpstr>think-cell Slide</vt:lpstr>
      <vt:lpstr>Face Swa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it impacts ?</dc:title>
  <dc:creator>Administrator</dc:creator>
  <cp:lastModifiedBy>Addela, Deekshith Reddy</cp:lastModifiedBy>
  <cp:revision>454</cp:revision>
  <dcterms:created xsi:type="dcterms:W3CDTF">2018-03-15T09:50:31Z</dcterms:created>
  <dcterms:modified xsi:type="dcterms:W3CDTF">2019-04-18T11:17:46Z</dcterms:modified>
</cp:coreProperties>
</file>